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72" r:id="rId1"/>
  </p:sldMasterIdLst>
  <p:notesMasterIdLst>
    <p:notesMasterId r:id="rId17"/>
  </p:notesMasterIdLst>
  <p:sldIdLst>
    <p:sldId id="256" r:id="rId2"/>
    <p:sldId id="261" r:id="rId3"/>
    <p:sldId id="293" r:id="rId4"/>
    <p:sldId id="289" r:id="rId5"/>
    <p:sldId id="295" r:id="rId6"/>
    <p:sldId id="291" r:id="rId7"/>
    <p:sldId id="281" r:id="rId8"/>
    <p:sldId id="298" r:id="rId9"/>
    <p:sldId id="292" r:id="rId10"/>
    <p:sldId id="287" r:id="rId11"/>
    <p:sldId id="284" r:id="rId12"/>
    <p:sldId id="296" r:id="rId13"/>
    <p:sldId id="294" r:id="rId14"/>
    <p:sldId id="283" r:id="rId15"/>
    <p:sldId id="297" r:id="rId16"/>
  </p:sldIdLst>
  <p:sldSz cx="9144000" cy="6858000" type="screen4x3"/>
  <p:notesSz cx="6797675" cy="9926638"/>
  <p:embeddedFontLst>
    <p:embeddedFont>
      <p:font typeface="Technika" panose="020B0604020202020204" charset="-18"/>
      <p:regular r:id="rId18"/>
      <p:bold r:id="rId19"/>
      <p:italic r:id="rId20"/>
      <p:boldItalic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Technika-Bold" panose="00000600000000000000" charset="-18"/>
      <p:regular r:id="rId26"/>
    </p:embeddedFont>
  </p:embeddedFontLst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7" autoAdjust="0"/>
    <p:restoredTop sz="94660"/>
  </p:normalViewPr>
  <p:slideViewPr>
    <p:cSldViewPr snapToGrid="0" snapToObjects="1">
      <p:cViewPr varScale="1">
        <p:scale>
          <a:sx n="71" d="100"/>
          <a:sy n="71" d="100"/>
        </p:scale>
        <p:origin x="1482" y="60"/>
      </p:cViewPr>
      <p:guideLst>
        <p:guide orient="horz" pos="1207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2799A2-967B-4B6D-8BF4-047FB8CEA12E}" type="datetimeFigureOut">
              <a:rPr lang="cs-CZ" smtClean="0"/>
              <a:t>4.5.2017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C11A7-7AF1-4518-86F0-D8E17514D66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107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9095"/>
          <a:stretch/>
        </p:blipFill>
        <p:spPr>
          <a:xfrm>
            <a:off x="0" y="2"/>
            <a:ext cx="10076688" cy="6868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bg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3" y="274320"/>
            <a:ext cx="1773814" cy="8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274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256" b="9239"/>
          <a:stretch/>
        </p:blipFill>
        <p:spPr>
          <a:xfrm>
            <a:off x="0" y="2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7" name="Picture 2" descr="https://www.email.cz/download/i/J_cdaADwWifiayZrAXd9jpkdWor_gYe_4QlhA3zsTzSB0jpv76wY4UUYT-LRJNvubDBn-to/logo_cvut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080000" y="1800001"/>
            <a:ext cx="7736694" cy="1446663"/>
          </a:xfrm>
        </p:spPr>
        <p:txBody>
          <a:bodyPr anchor="t"/>
          <a:lstStyle>
            <a:lvl1pPr algn="l">
              <a:defRPr lang="cs-CZ" sz="4800" b="1" i="0" u="none" strike="noStrike" kern="4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</a:lstStyle>
          <a:p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TITUL PREZENTACE</a:t>
            </a:r>
            <a:br>
              <a:rPr lang="cs-CZ" sz="4800" b="1" i="0" u="none" strike="noStrike" baseline="0" dirty="0">
                <a:latin typeface="Technika-Bold" panose="00000600000000000000" pitchFamily="50" charset="-18"/>
              </a:rPr>
            </a:br>
            <a:r>
              <a:rPr lang="cs-CZ" sz="4800" b="1" i="0" u="none" strike="noStrike" baseline="0" dirty="0">
                <a:latin typeface="Technika-Bold" panose="00000600000000000000" pitchFamily="50" charset="-18"/>
              </a:rPr>
              <a:t>PODTITUL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441732"/>
            <a:ext cx="7736693" cy="1771721"/>
          </a:xfrm>
        </p:spPr>
        <p:txBody>
          <a:bodyPr/>
          <a:lstStyle>
            <a:lvl1pPr marL="0" indent="0" algn="l">
              <a:buNone/>
              <a:defRPr lang="cs-CZ" sz="2400" b="1" i="0" u="none" strike="noStrike" kern="2800" baseline="0" smtClean="0">
                <a:solidFill>
                  <a:schemeClr val="tx1"/>
                </a:solidFill>
                <a:latin typeface="Technika-Bold" panose="00000600000000000000" pitchFamily="50" charset="-18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cs-CZ" dirty="0"/>
              <a:t>NÁZEV FAKULTY A PRACOVIŠTĚ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UTOR/TITUL JMÉNO PŘÍJMENÍ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57167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7794000" cy="1087934"/>
          </a:xfrm>
        </p:spPr>
        <p:txBody>
          <a:bodyPr anchor="t"/>
          <a:lstStyle>
            <a:lvl1pPr>
              <a:defRPr sz="2800" kern="2800" baseline="0">
                <a:latin typeface="Technika-Bold" panose="00000600000000000000" pitchFamily="50" charset="-18"/>
              </a:defRPr>
            </a:lvl1pPr>
          </a:lstStyle>
          <a:p>
            <a:r>
              <a:rPr lang="cs-CZ" dirty="0"/>
              <a:t>PODTITU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9999" y="3059766"/>
            <a:ext cx="7794000" cy="352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8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77198" y="1800001"/>
            <a:ext cx="7696800" cy="4788000"/>
          </a:xfrm>
        </p:spPr>
        <p:txBody>
          <a:bodyPr>
            <a:normAutofit/>
          </a:bodyPr>
          <a:lstStyle>
            <a:lvl1pPr marL="0" indent="0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1999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2067641" y="368300"/>
            <a:ext cx="6888707" cy="122848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270000"/>
            <a:ext cx="8604000" cy="6318000"/>
          </a:xfrm>
        </p:spPr>
        <p:txBody>
          <a:bodyPr>
            <a:normAutofit/>
          </a:bodyPr>
          <a:lstStyle>
            <a:lvl1pPr marL="0" indent="0" algn="ctr">
              <a:buNone/>
              <a:defRPr sz="2000" kern="3000" baseline="0">
                <a:latin typeface="Technika-Bold" panose="00000600000000000000" pitchFamily="50" charset="-18"/>
              </a:defRPr>
            </a:lvl1pPr>
          </a:lstStyle>
          <a:p>
            <a:pPr lvl="0"/>
            <a:r>
              <a:rPr lang="cs-CZ" dirty="0"/>
              <a:t>VLOŽIT OBRÁZE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73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3622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80000" y="1440000"/>
            <a:ext cx="7794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0000" y="2880000"/>
            <a:ext cx="7794000" cy="370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pic>
        <p:nvPicPr>
          <p:cNvPr id="1026" name="Picture 2" descr="https://www.email.cz/download/i/J_cdaADwWifiayZrAXd9jpkdWor_gYe_4QlhA3zsTzSB0jpv76wY4UUYT-LRJNvubDBn-to/logo_cvut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1" y="274320"/>
            <a:ext cx="1770611" cy="863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270001" y="6368156"/>
            <a:ext cx="4050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CASA</a:t>
            </a:r>
            <a:r>
              <a:rPr lang="cs-CZ" sz="1400" baseline="0" dirty="0" smtClean="0"/>
              <a:t> </a:t>
            </a:r>
            <a:r>
              <a:rPr lang="cs-CZ" sz="1400" dirty="0" smtClean="0"/>
              <a:t>Meeting; May</a:t>
            </a:r>
            <a:r>
              <a:rPr lang="cs-CZ" sz="1400" baseline="0" dirty="0" smtClean="0"/>
              <a:t> 4, 2017</a:t>
            </a:r>
            <a:endParaRPr lang="cs-CZ" sz="14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369340" y="6368156"/>
            <a:ext cx="25046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400" dirty="0" err="1" smtClean="0"/>
              <a:t>Slide</a:t>
            </a:r>
            <a:r>
              <a:rPr lang="cs-CZ" sz="1400" dirty="0" smtClean="0"/>
              <a:t> </a:t>
            </a:r>
            <a:fld id="{72775F78-C73D-4CBF-9655-388C65220E8D}" type="slidenum">
              <a:rPr lang="cs-CZ" sz="1400" smtClean="0"/>
              <a:t>‹#›</a:t>
            </a:fld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635436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4" r:id="rId3"/>
    <p:sldLayoutId id="2147483685" r:id="rId4"/>
    <p:sldLayoutId id="214748368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echnika-Bold" panose="00000600000000000000" pitchFamily="50" charset="-18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chnika" panose="00000600000000000000" pitchFamily="50" charset="-18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13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0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slideLayout" Target="../slideLayouts/slideLayout3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oleObject" Target="../embeddings/oleObject5.bin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image" Target="../media/image1.emf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80000" y="1800001"/>
            <a:ext cx="7736694" cy="1993284"/>
          </a:xfrm>
        </p:spPr>
        <p:txBody>
          <a:bodyPr anchor="b">
            <a:normAutofit/>
          </a:bodyPr>
          <a:lstStyle/>
          <a:p>
            <a:r>
              <a:rPr lang="en-US" dirty="0" smtClean="0"/>
              <a:t>Project CASA:</a:t>
            </a:r>
            <a:br>
              <a:rPr lang="en-US" dirty="0" smtClean="0"/>
            </a:br>
            <a:r>
              <a:rPr lang="cs-CZ" dirty="0" smtClean="0"/>
              <a:t>Status update – </a:t>
            </a:r>
            <a:r>
              <a:rPr lang="cs-CZ" dirty="0" err="1" smtClean="0"/>
              <a:t>week</a:t>
            </a:r>
            <a:r>
              <a:rPr lang="cs-CZ" dirty="0" smtClean="0"/>
              <a:t> 11</a:t>
            </a:r>
            <a:endParaRPr lang="cs-CZ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endParaRPr lang="cs-CZ" dirty="0" smtClean="0"/>
          </a:p>
          <a:p>
            <a:r>
              <a:rPr lang="cs-CZ" dirty="0" err="1" smtClean="0"/>
              <a:t>Supporting</a:t>
            </a:r>
            <a:r>
              <a:rPr lang="cs-CZ" dirty="0" smtClean="0"/>
              <a:t> </a:t>
            </a:r>
            <a:r>
              <a:rPr lang="cs-CZ" dirty="0" err="1" smtClean="0"/>
              <a:t>Document</a:t>
            </a:r>
            <a:r>
              <a:rPr lang="cs-CZ" dirty="0" smtClean="0"/>
              <a:t> </a:t>
            </a:r>
            <a:r>
              <a:rPr lang="en-US" dirty="0" smtClean="0"/>
              <a:t>for first </a:t>
            </a:r>
            <a:r>
              <a:rPr lang="en-US" dirty="0" err="1" smtClean="0"/>
              <a:t>SteerCo</a:t>
            </a:r>
            <a:r>
              <a:rPr lang="en-US" dirty="0" smtClean="0"/>
              <a:t> Meeting</a:t>
            </a:r>
            <a:endParaRPr lang="cs-CZ" dirty="0" smtClean="0"/>
          </a:p>
          <a:p>
            <a:r>
              <a:rPr lang="cs-CZ" dirty="0" smtClean="0"/>
              <a:t>May 4, 2017</a:t>
            </a:r>
            <a:endParaRPr lang="en-US" dirty="0" smtClean="0"/>
          </a:p>
          <a:p>
            <a:endParaRPr lang="en-US" dirty="0" smtClean="0"/>
          </a:p>
          <a:p>
            <a:endParaRPr lang="en-US" sz="1200" dirty="0" smtClean="0"/>
          </a:p>
          <a:p>
            <a:endParaRPr lang="cs-CZ" sz="1200" dirty="0" smtClean="0"/>
          </a:p>
          <a:p>
            <a:endParaRPr lang="cs-CZ" sz="1200" dirty="0"/>
          </a:p>
          <a:p>
            <a:endParaRPr lang="en-US" sz="1200" dirty="0"/>
          </a:p>
          <a:p>
            <a:r>
              <a:rPr lang="en-US" sz="1100" b="0" dirty="0" err="1" smtClean="0"/>
              <a:t>Yevgeniya</a:t>
            </a:r>
            <a:r>
              <a:rPr lang="en-US" sz="1100" b="0" dirty="0" smtClean="0"/>
              <a:t> </a:t>
            </a:r>
            <a:r>
              <a:rPr lang="en-US" sz="1100" b="0" dirty="0" err="1"/>
              <a:t>Chekh</a:t>
            </a:r>
            <a:r>
              <a:rPr lang="en-US" sz="1100" b="0" dirty="0"/>
              <a:t>, Jan </a:t>
            </a:r>
            <a:r>
              <a:rPr lang="en-US" sz="1100" b="0" dirty="0" err="1"/>
              <a:t>Kohout</a:t>
            </a:r>
            <a:r>
              <a:rPr lang="en-US" sz="1100" b="0" dirty="0"/>
              <a:t>, David </a:t>
            </a:r>
            <a:r>
              <a:rPr lang="en-US" sz="1100" b="0" dirty="0" err="1"/>
              <a:t>Löffler</a:t>
            </a:r>
            <a:r>
              <a:rPr lang="en-US" sz="1100" b="0" dirty="0"/>
              <a:t>, </a:t>
            </a:r>
            <a:r>
              <a:rPr lang="cs-CZ" sz="1100" b="0" dirty="0" smtClean="0"/>
              <a:t>Miroslav </a:t>
            </a:r>
            <a:r>
              <a:rPr lang="cs-CZ" sz="1100" b="0" dirty="0" err="1" smtClean="0"/>
              <a:t>Rudišin</a:t>
            </a:r>
            <a:r>
              <a:rPr lang="cs-CZ" sz="1100" b="0" dirty="0" smtClean="0"/>
              <a:t>, </a:t>
            </a:r>
            <a:r>
              <a:rPr lang="en-US" sz="1100" b="0" dirty="0" err="1" smtClean="0"/>
              <a:t>Kryštof</a:t>
            </a:r>
            <a:r>
              <a:rPr lang="en-US" sz="1100" b="0" dirty="0" smtClean="0"/>
              <a:t> </a:t>
            </a:r>
            <a:r>
              <a:rPr lang="en-US" sz="1100" b="0" dirty="0" err="1"/>
              <a:t>Sýkora</a:t>
            </a:r>
            <a:r>
              <a:rPr lang="en-US" sz="1100" b="0" dirty="0"/>
              <a:t>, Marek Szeles, Ho Minh Thanh</a:t>
            </a:r>
            <a:endParaRPr lang="cs-CZ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8445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velopment</a:t>
            </a:r>
            <a:r>
              <a:rPr lang="cs-CZ" dirty="0" smtClean="0"/>
              <a:t> </a:t>
            </a:r>
            <a:r>
              <a:rPr lang="cs-CZ" dirty="0" err="1" smtClean="0"/>
              <a:t>progress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  <a:solidFill>
              <a:schemeClr val="accent6"/>
            </a:solidFill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37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Last meeting (20.4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4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2686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ll Project View</a:t>
            </a:r>
            <a:r>
              <a:rPr lang="cs-CZ" dirty="0" smtClean="0"/>
              <a:t>: </a:t>
            </a:r>
            <a:r>
              <a:rPr lang="cs-CZ" dirty="0" err="1" smtClean="0"/>
              <a:t>Current</a:t>
            </a:r>
            <a:r>
              <a:rPr lang="cs-CZ" dirty="0" smtClean="0"/>
              <a:t> status (4.5.2017)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6899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25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0290"/>
            <a:ext cx="1310320" cy="109769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8446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Testing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97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View</a:t>
            </a:r>
            <a:endParaRPr lang="cs-CZ" dirty="0"/>
          </a:p>
        </p:txBody>
      </p:sp>
      <p:grpSp>
        <p:nvGrpSpPr>
          <p:cNvPr id="6" name="Group 5"/>
          <p:cNvGrpSpPr/>
          <p:nvPr/>
        </p:nvGrpSpPr>
        <p:grpSpPr>
          <a:xfrm>
            <a:off x="574026" y="2274115"/>
            <a:ext cx="7944642" cy="4105951"/>
            <a:chOff x="574026" y="2395138"/>
            <a:chExt cx="7944642" cy="4105951"/>
          </a:xfrm>
        </p:grpSpPr>
        <p:sp>
          <p:nvSpPr>
            <p:cNvPr id="4" name="Rectangle 3"/>
            <p:cNvSpPr/>
            <p:nvPr/>
          </p:nvSpPr>
          <p:spPr>
            <a:xfrm>
              <a:off x="3806638" y="2395138"/>
              <a:ext cx="1457699" cy="648929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/>
                <a:t>CASA</a:t>
              </a:r>
              <a:endParaRPr lang="en-US" sz="2400" dirty="0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277803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06096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e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060968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ver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919504" y="4000835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ix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4919504" y="4651239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ty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778038" y="4651239"/>
              <a:ext cx="1457699" cy="5490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t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778038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69047" y="4000835"/>
              <a:ext cx="1457699" cy="54904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gorithm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969047" y="4651239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eal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69047" y="5301643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vering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969047" y="5952047"/>
              <a:ext cx="1457699" cy="5490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s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026369" y="5952047"/>
              <a:ext cx="1209368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.C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Elbow Connector 14"/>
            <p:cNvCxnSpPr>
              <a:stCxn id="4" idx="2"/>
              <a:endCxn id="110" idx="0"/>
            </p:cNvCxnSpPr>
            <p:nvPr/>
          </p:nvCxnSpPr>
          <p:spPr>
            <a:xfrm rot="5400000">
              <a:off x="3396385" y="2111440"/>
              <a:ext cx="206477" cy="2071731"/>
            </a:xfrm>
            <a:prstGeom prst="bentConnector3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Elbow Connector 133"/>
            <p:cNvCxnSpPr>
              <a:stCxn id="111" idx="0"/>
              <a:endCxn id="4" idx="2"/>
            </p:cNvCxnSpPr>
            <p:nvPr/>
          </p:nvCxnSpPr>
          <p:spPr>
            <a:xfrm rot="16200000" flipV="1">
              <a:off x="4922454" y="2657102"/>
              <a:ext cx="206477" cy="980408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Elbow Connector 136"/>
            <p:cNvCxnSpPr>
              <a:stCxn id="112" idx="0"/>
              <a:endCxn id="4" idx="2"/>
            </p:cNvCxnSpPr>
            <p:nvPr/>
          </p:nvCxnSpPr>
          <p:spPr>
            <a:xfrm rot="16200000" flipV="1">
              <a:off x="5993187" y="1586369"/>
              <a:ext cx="206477" cy="3121874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Elbow Connector 137"/>
            <p:cNvCxnSpPr>
              <a:stCxn id="27" idx="2"/>
              <a:endCxn id="120" idx="1"/>
            </p:cNvCxnSpPr>
            <p:nvPr/>
          </p:nvCxnSpPr>
          <p:spPr>
            <a:xfrm rot="16200000" flipH="1">
              <a:off x="711788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8" name="Group 87"/>
            <p:cNvGrpSpPr/>
            <p:nvPr/>
          </p:nvGrpSpPr>
          <p:grpSpPr>
            <a:xfrm>
              <a:off x="691777" y="3250544"/>
              <a:ext cx="3543960" cy="648930"/>
              <a:chOff x="691777" y="3250544"/>
              <a:chExt cx="3543960" cy="648930"/>
            </a:xfrm>
          </p:grpSpPr>
          <p:sp>
            <p:nvSpPr>
              <p:cNvPr id="110" name="Rectangle 109"/>
              <p:cNvSpPr/>
              <p:nvPr/>
            </p:nvSpPr>
            <p:spPr>
              <a:xfrm>
                <a:off x="691777" y="3250544"/>
                <a:ext cx="3543960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sa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691777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500768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0" name="Elbow Connector 139"/>
            <p:cNvCxnSpPr>
              <a:stCxn id="139" idx="2"/>
              <a:endCxn id="113" idx="1"/>
            </p:cNvCxnSpPr>
            <p:nvPr/>
          </p:nvCxnSpPr>
          <p:spPr>
            <a:xfrm rot="16200000" flipH="1">
              <a:off x="2520779" y="4018097"/>
              <a:ext cx="375882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87" name="Group 86"/>
            <p:cNvGrpSpPr/>
            <p:nvPr/>
          </p:nvGrpSpPr>
          <p:grpSpPr>
            <a:xfrm>
              <a:off x="4654590" y="3250544"/>
              <a:ext cx="1722612" cy="648930"/>
              <a:chOff x="4654590" y="3250544"/>
              <a:chExt cx="1722612" cy="64893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4654590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mon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40"/>
              <p:cNvSpPr/>
              <p:nvPr/>
            </p:nvSpPr>
            <p:spPr>
              <a:xfrm>
                <a:off x="4655009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796056" y="3250544"/>
              <a:ext cx="1722612" cy="648930"/>
              <a:chOff x="6796056" y="3250544"/>
              <a:chExt cx="1722612" cy="648930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6796056" y="3250544"/>
                <a:ext cx="1722612" cy="6489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err="1" smtClean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nisat</a:t>
                </a:r>
                <a:endPara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6796056" y="3604506"/>
                <a:ext cx="277270" cy="29496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3" name="Elbow Connector 142"/>
            <p:cNvCxnSpPr>
              <a:stCxn id="139" idx="2"/>
              <a:endCxn id="118" idx="1"/>
            </p:cNvCxnSpPr>
            <p:nvPr/>
          </p:nvCxnSpPr>
          <p:spPr>
            <a:xfrm rot="16200000" flipH="1">
              <a:off x="2195577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Elbow Connector 144"/>
            <p:cNvCxnSpPr>
              <a:stCxn id="139" idx="2"/>
              <a:endCxn id="119" idx="1"/>
            </p:cNvCxnSpPr>
            <p:nvPr/>
          </p:nvCxnSpPr>
          <p:spPr>
            <a:xfrm rot="16200000" flipH="1">
              <a:off x="1870375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Elbow Connector 148"/>
            <p:cNvCxnSpPr>
              <a:stCxn id="139" idx="2"/>
              <a:endCxn id="133" idx="1"/>
            </p:cNvCxnSpPr>
            <p:nvPr/>
          </p:nvCxnSpPr>
          <p:spPr>
            <a:xfrm rot="16200000" flipH="1">
              <a:off x="1669339" y="4869538"/>
              <a:ext cx="2327094" cy="386966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Elbow Connector 150"/>
            <p:cNvCxnSpPr>
              <a:stCxn id="27" idx="2"/>
              <a:endCxn id="121" idx="1"/>
            </p:cNvCxnSpPr>
            <p:nvPr/>
          </p:nvCxnSpPr>
          <p:spPr>
            <a:xfrm rot="16200000" flipH="1">
              <a:off x="386586" y="4343299"/>
              <a:ext cx="1026286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Elbow Connector 153"/>
            <p:cNvCxnSpPr>
              <a:stCxn id="27" idx="2"/>
              <a:endCxn id="122" idx="1"/>
            </p:cNvCxnSpPr>
            <p:nvPr/>
          </p:nvCxnSpPr>
          <p:spPr>
            <a:xfrm rot="16200000" flipH="1">
              <a:off x="61384" y="4668501"/>
              <a:ext cx="1676690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Elbow Connector 154"/>
            <p:cNvCxnSpPr>
              <a:stCxn id="27" idx="2"/>
              <a:endCxn id="129" idx="1"/>
            </p:cNvCxnSpPr>
            <p:nvPr/>
          </p:nvCxnSpPr>
          <p:spPr>
            <a:xfrm rot="16200000" flipH="1">
              <a:off x="-263818" y="4993703"/>
              <a:ext cx="2327094" cy="138635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Elbow Connector 162"/>
            <p:cNvCxnSpPr>
              <a:stCxn id="141" idx="2"/>
              <a:endCxn id="116" idx="1"/>
            </p:cNvCxnSpPr>
            <p:nvPr/>
          </p:nvCxnSpPr>
          <p:spPr>
            <a:xfrm rot="16200000" flipH="1">
              <a:off x="4668633" y="4024485"/>
              <a:ext cx="375882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Elbow Connector 163"/>
            <p:cNvCxnSpPr>
              <a:stCxn id="141" idx="2"/>
              <a:endCxn id="117" idx="1"/>
            </p:cNvCxnSpPr>
            <p:nvPr/>
          </p:nvCxnSpPr>
          <p:spPr>
            <a:xfrm rot="16200000" flipH="1">
              <a:off x="4343431" y="4349687"/>
              <a:ext cx="1026286" cy="125860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Elbow Connector 164"/>
            <p:cNvCxnSpPr>
              <a:stCxn id="142" idx="2"/>
              <a:endCxn id="114" idx="1"/>
            </p:cNvCxnSpPr>
            <p:nvPr/>
          </p:nvCxnSpPr>
          <p:spPr>
            <a:xfrm rot="16200000" flipH="1">
              <a:off x="6484686" y="4349478"/>
              <a:ext cx="1026286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Elbow Connector 165"/>
            <p:cNvCxnSpPr>
              <a:stCxn id="142" idx="2"/>
              <a:endCxn id="115" idx="1"/>
            </p:cNvCxnSpPr>
            <p:nvPr/>
          </p:nvCxnSpPr>
          <p:spPr>
            <a:xfrm rot="16200000" flipH="1">
              <a:off x="6809888" y="4024276"/>
              <a:ext cx="375882" cy="126277"/>
            </a:xfrm>
            <a:prstGeom prst="bentConnector2">
              <a:avLst/>
            </a:prstGeom>
            <a:noFill/>
            <a:ln w="6350" cap="flat" cmpd="sng" algn="ctr">
              <a:solidFill>
                <a:srgbClr val="4D4D4D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NumberBall"/>
            <p:cNvSpPr>
              <a:spLocks noChangeArrowheads="1"/>
            </p:cNvSpPr>
            <p:nvPr/>
          </p:nvSpPr>
          <p:spPr bwMode="gray">
            <a:xfrm>
              <a:off x="574026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62" name="NumberBall"/>
            <p:cNvSpPr>
              <a:spLocks noChangeArrowheads="1"/>
            </p:cNvSpPr>
            <p:nvPr/>
          </p:nvSpPr>
          <p:spPr bwMode="gray">
            <a:xfrm>
              <a:off x="4535489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63" name="NumberBall"/>
            <p:cNvSpPr>
              <a:spLocks noChangeArrowheads="1"/>
            </p:cNvSpPr>
            <p:nvPr/>
          </p:nvSpPr>
          <p:spPr bwMode="gray">
            <a:xfrm>
              <a:off x="6702554" y="319832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600" b="1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</a:t>
              </a:r>
              <a:endPara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3" name="NumberBall"/>
            <p:cNvSpPr>
              <a:spLocks noChangeArrowheads="1"/>
            </p:cNvSpPr>
            <p:nvPr/>
          </p:nvSpPr>
          <p:spPr bwMode="gray">
            <a:xfrm>
              <a:off x="867072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4" name="NumberBall"/>
            <p:cNvSpPr>
              <a:spLocks noChangeArrowheads="1"/>
            </p:cNvSpPr>
            <p:nvPr/>
          </p:nvSpPr>
          <p:spPr bwMode="gray">
            <a:xfrm>
              <a:off x="4815835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NumberBall"/>
            <p:cNvSpPr>
              <a:spLocks noChangeArrowheads="1"/>
            </p:cNvSpPr>
            <p:nvPr/>
          </p:nvSpPr>
          <p:spPr bwMode="gray">
            <a:xfrm>
              <a:off x="6982900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1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6" name="NumberBall"/>
            <p:cNvSpPr>
              <a:spLocks noChangeArrowheads="1"/>
            </p:cNvSpPr>
            <p:nvPr/>
          </p:nvSpPr>
          <p:spPr bwMode="gray">
            <a:xfrm>
              <a:off x="867072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7" name="NumberBall"/>
            <p:cNvSpPr>
              <a:spLocks noChangeArrowheads="1"/>
            </p:cNvSpPr>
            <p:nvPr/>
          </p:nvSpPr>
          <p:spPr bwMode="gray">
            <a:xfrm>
              <a:off x="4815835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2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8" name="NumberBall"/>
            <p:cNvSpPr>
              <a:spLocks noChangeArrowheads="1"/>
            </p:cNvSpPr>
            <p:nvPr/>
          </p:nvSpPr>
          <p:spPr bwMode="gray">
            <a:xfrm>
              <a:off x="6982900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3.2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9" name="NumberBall"/>
            <p:cNvSpPr>
              <a:spLocks noChangeArrowheads="1"/>
            </p:cNvSpPr>
            <p:nvPr/>
          </p:nvSpPr>
          <p:spPr bwMode="gray">
            <a:xfrm>
              <a:off x="867072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3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0" name="NumberBall"/>
            <p:cNvSpPr>
              <a:spLocks noChangeArrowheads="1"/>
            </p:cNvSpPr>
            <p:nvPr/>
          </p:nvSpPr>
          <p:spPr bwMode="gray">
            <a:xfrm>
              <a:off x="867072" y="5893508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4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1" name="NumberBall"/>
            <p:cNvSpPr>
              <a:spLocks noChangeArrowheads="1"/>
            </p:cNvSpPr>
            <p:nvPr/>
          </p:nvSpPr>
          <p:spPr bwMode="gray">
            <a:xfrm>
              <a:off x="2688958" y="394340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5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2" name="NumberBall"/>
            <p:cNvSpPr>
              <a:spLocks noChangeArrowheads="1"/>
            </p:cNvSpPr>
            <p:nvPr/>
          </p:nvSpPr>
          <p:spPr bwMode="gray">
            <a:xfrm>
              <a:off x="2688958" y="4590180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6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83" name="NumberBall"/>
            <p:cNvSpPr>
              <a:spLocks noChangeArrowheads="1"/>
            </p:cNvSpPr>
            <p:nvPr/>
          </p:nvSpPr>
          <p:spPr bwMode="gray">
            <a:xfrm>
              <a:off x="2688958" y="5243149"/>
              <a:ext cx="295275" cy="295275"/>
            </a:xfrm>
            <a:prstGeom prst="ellipse">
              <a:avLst/>
            </a:prstGeom>
            <a:solidFill>
              <a:srgbClr val="4472C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itchFamily="34" charset="0"/>
                </a:rPr>
                <a:t>1.7</a:t>
              </a:r>
              <a:endPara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13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158751" y="6161839"/>
            <a:ext cx="5246968" cy="604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Unit </a:t>
            </a:r>
            <a:r>
              <a:rPr lang="cs-CZ" dirty="0" err="1" smtClean="0"/>
              <a:t>testing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endParaRPr lang="cs-CZ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7638" y="2339430"/>
            <a:ext cx="5063229" cy="44266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64225" y="2380966"/>
            <a:ext cx="946149" cy="99944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Rectangle 29"/>
          <p:cNvSpPr/>
          <p:nvPr/>
        </p:nvSpPr>
        <p:spPr>
          <a:xfrm>
            <a:off x="5299829" y="2716777"/>
            <a:ext cx="1107572" cy="1232283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Rectangle 35"/>
          <p:cNvSpPr/>
          <p:nvPr/>
        </p:nvSpPr>
        <p:spPr>
          <a:xfrm>
            <a:off x="5299829" y="2339430"/>
            <a:ext cx="1107572" cy="37734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Rectangle 36"/>
          <p:cNvSpPr/>
          <p:nvPr/>
        </p:nvSpPr>
        <p:spPr>
          <a:xfrm>
            <a:off x="4135700" y="3377294"/>
            <a:ext cx="1079608" cy="1175466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1" name="Rectangle 40"/>
          <p:cNvSpPr/>
          <p:nvPr/>
        </p:nvSpPr>
        <p:spPr>
          <a:xfrm>
            <a:off x="2810374" y="3381296"/>
            <a:ext cx="1325326" cy="117146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Rectangle 37"/>
          <p:cNvSpPr/>
          <p:nvPr/>
        </p:nvSpPr>
        <p:spPr>
          <a:xfrm>
            <a:off x="1864225" y="3381296"/>
            <a:ext cx="946149" cy="1171464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1" name="Rectangle 30"/>
          <p:cNvSpPr/>
          <p:nvPr/>
        </p:nvSpPr>
        <p:spPr>
          <a:xfrm>
            <a:off x="1262537" y="5693470"/>
            <a:ext cx="1037763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2" name="Rectangle 31"/>
          <p:cNvSpPr/>
          <p:nvPr/>
        </p:nvSpPr>
        <p:spPr>
          <a:xfrm>
            <a:off x="2572858" y="4552760"/>
            <a:ext cx="2642450" cy="109522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Rectangle 32"/>
          <p:cNvSpPr/>
          <p:nvPr/>
        </p:nvSpPr>
        <p:spPr>
          <a:xfrm>
            <a:off x="1262537" y="3687707"/>
            <a:ext cx="601688" cy="865053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Rectangle 34"/>
          <p:cNvSpPr/>
          <p:nvPr/>
        </p:nvSpPr>
        <p:spPr>
          <a:xfrm>
            <a:off x="1262537" y="2380967"/>
            <a:ext cx="598549" cy="671516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Rectangle 38"/>
          <p:cNvSpPr/>
          <p:nvPr/>
        </p:nvSpPr>
        <p:spPr>
          <a:xfrm>
            <a:off x="2810374" y="2380967"/>
            <a:ext cx="1117548" cy="1000329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Rectangle 39"/>
          <p:cNvSpPr/>
          <p:nvPr/>
        </p:nvSpPr>
        <p:spPr>
          <a:xfrm>
            <a:off x="3927922" y="2380967"/>
            <a:ext cx="1287386" cy="996327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Rectangle 41"/>
          <p:cNvSpPr/>
          <p:nvPr/>
        </p:nvSpPr>
        <p:spPr>
          <a:xfrm>
            <a:off x="1262537" y="3052483"/>
            <a:ext cx="598549" cy="632104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3" name="Rectangle 42"/>
          <p:cNvSpPr/>
          <p:nvPr/>
        </p:nvSpPr>
        <p:spPr>
          <a:xfrm>
            <a:off x="2300300" y="5693470"/>
            <a:ext cx="1109650" cy="1072619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NumberBall"/>
          <p:cNvSpPr>
            <a:spLocks noChangeArrowheads="1"/>
          </p:cNvSpPr>
          <p:nvPr/>
        </p:nvSpPr>
        <p:spPr bwMode="gray">
          <a:xfrm>
            <a:off x="1080000" y="226106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3" name="NumberBall"/>
          <p:cNvSpPr>
            <a:spLocks noChangeArrowheads="1"/>
          </p:cNvSpPr>
          <p:nvPr/>
        </p:nvSpPr>
        <p:spPr bwMode="gray">
          <a:xfrm>
            <a:off x="3782734" y="330199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3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NumberBall"/>
          <p:cNvSpPr>
            <a:spLocks noChangeArrowheads="1"/>
          </p:cNvSpPr>
          <p:nvPr/>
        </p:nvSpPr>
        <p:spPr bwMode="gray">
          <a:xfrm>
            <a:off x="6077094" y="226106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8" name="NumberBall"/>
          <p:cNvSpPr>
            <a:spLocks noChangeArrowheads="1"/>
          </p:cNvSpPr>
          <p:nvPr/>
        </p:nvSpPr>
        <p:spPr bwMode="gray">
          <a:xfrm>
            <a:off x="5541019" y="235969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1" name="NumberBall"/>
          <p:cNvSpPr>
            <a:spLocks noChangeArrowheads="1"/>
          </p:cNvSpPr>
          <p:nvPr/>
        </p:nvSpPr>
        <p:spPr bwMode="gray">
          <a:xfrm>
            <a:off x="5700317" y="3066808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2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6" name="NumberBall"/>
          <p:cNvSpPr>
            <a:spLocks noChangeArrowheads="1"/>
          </p:cNvSpPr>
          <p:nvPr/>
        </p:nvSpPr>
        <p:spPr bwMode="gray">
          <a:xfrm>
            <a:off x="1355775" y="577471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NumberBall"/>
          <p:cNvSpPr>
            <a:spLocks noChangeArrowheads="1"/>
          </p:cNvSpPr>
          <p:nvPr/>
        </p:nvSpPr>
        <p:spPr bwMode="gray">
          <a:xfrm>
            <a:off x="1779187" y="601420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2626011" y="6161839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3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3842054" y="491277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7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NumberBall"/>
          <p:cNvSpPr>
            <a:spLocks noChangeArrowheads="1"/>
          </p:cNvSpPr>
          <p:nvPr/>
        </p:nvSpPr>
        <p:spPr bwMode="gray">
          <a:xfrm>
            <a:off x="1489623" y="2556344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1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0" name="NumberBall"/>
          <p:cNvSpPr>
            <a:spLocks noChangeArrowheads="1"/>
          </p:cNvSpPr>
          <p:nvPr/>
        </p:nvSpPr>
        <p:spPr bwMode="gray">
          <a:xfrm>
            <a:off x="2139898" y="2740296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2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5" name="NumberBall"/>
          <p:cNvSpPr>
            <a:spLocks noChangeArrowheads="1"/>
          </p:cNvSpPr>
          <p:nvPr/>
        </p:nvSpPr>
        <p:spPr bwMode="gray">
          <a:xfrm>
            <a:off x="2041211" y="362726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5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4" name="NumberBall"/>
          <p:cNvSpPr>
            <a:spLocks noChangeArrowheads="1"/>
          </p:cNvSpPr>
          <p:nvPr/>
        </p:nvSpPr>
        <p:spPr bwMode="gray">
          <a:xfrm>
            <a:off x="1375275" y="4000841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4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2537" y="4551638"/>
            <a:ext cx="1310320" cy="1096347"/>
          </a:xfrm>
          <a:prstGeom prst="rect">
            <a:avLst/>
          </a:prstGeom>
          <a:solidFill>
            <a:schemeClr val="accent2">
              <a:alpha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1631549" y="5142673"/>
            <a:ext cx="295275" cy="295275"/>
          </a:xfrm>
          <a:prstGeom prst="ellipse">
            <a:avLst/>
          </a:prstGeom>
          <a:solidFill>
            <a:srgbClr val="4472C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1.6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631557" y="4242977"/>
            <a:ext cx="1994931" cy="2523112"/>
            <a:chOff x="6211166" y="4296116"/>
            <a:chExt cx="1994931" cy="2523112"/>
          </a:xfrm>
        </p:grpSpPr>
        <p:sp>
          <p:nvSpPr>
            <p:cNvPr id="59" name="Rectangle 4"/>
            <p:cNvSpPr>
              <a:spLocks noChangeArrowheads="1"/>
            </p:cNvSpPr>
            <p:nvPr/>
          </p:nvSpPr>
          <p:spPr bwMode="gray">
            <a:xfrm>
              <a:off x="6211166" y="4296116"/>
              <a:ext cx="1994931" cy="43088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accent5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egend</a:t>
              </a:r>
              <a:endParaRPr lang="en-US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713605" y="480104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t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713605" y="5290757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713605" y="5780472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ished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713605" y="6270186"/>
              <a:ext cx="1492492" cy="549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E2E2E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r>
                <a:rPr lang="cs-CZ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est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267196" y="5439278"/>
              <a:ext cx="396000" cy="2520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267196" y="4949563"/>
              <a:ext cx="396000" cy="252000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267196" y="5928993"/>
              <a:ext cx="396000" cy="252000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6267196" y="6418707"/>
              <a:ext cx="396000" cy="25200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4770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6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this Meeting</a:t>
            </a:r>
            <a:endParaRPr lang="cs-CZ" dirty="0"/>
          </a:p>
        </p:txBody>
      </p:sp>
      <p:grpSp>
        <p:nvGrpSpPr>
          <p:cNvPr id="4" name="Group 3"/>
          <p:cNvGrpSpPr/>
          <p:nvPr/>
        </p:nvGrpSpPr>
        <p:grpSpPr>
          <a:xfrm>
            <a:off x="1150951" y="2554337"/>
            <a:ext cx="7723048" cy="3702316"/>
            <a:chOff x="1150951" y="2677794"/>
            <a:chExt cx="7723048" cy="370231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284408" y="459508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/>
                <a:t>Review</a:t>
              </a:r>
              <a:r>
                <a:rPr lang="cs-CZ" sz="2000" b="1" dirty="0"/>
                <a:t> </a:t>
              </a:r>
              <a:r>
                <a:rPr lang="cs-CZ" sz="2000" b="1" dirty="0" err="1"/>
                <a:t>code</a:t>
              </a:r>
              <a:r>
                <a:rPr lang="cs-CZ" sz="2000" b="1" dirty="0"/>
                <a:t> </a:t>
              </a:r>
              <a:r>
                <a:rPr lang="cs-CZ" sz="2000" b="1" dirty="0" err="1" smtClean="0"/>
                <a:t>tes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1285278" y="459508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171330" y="491362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1150951" y="499672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1284408" y="556223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Defin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next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steps</a:t>
              </a:r>
              <a:endParaRPr lang="en-US" sz="2000" b="1" dirty="0"/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1285278" y="556223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171330" y="588078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>
              <a:off x="1150951" y="596387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1284408" y="2677794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en-US" sz="2000" b="1" dirty="0"/>
                <a:t>Present </a:t>
              </a:r>
              <a:r>
                <a:rPr lang="en-US" sz="2000" b="1" dirty="0" smtClean="0"/>
                <a:t>overview of project</a:t>
              </a:r>
              <a:r>
                <a:rPr lang="cs-CZ" sz="2000" b="1" dirty="0" smtClean="0"/>
                <a:t> status</a:t>
              </a:r>
              <a:endParaRPr lang="en-US" sz="2000" b="1" dirty="0"/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1285278" y="2677794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71330" y="2996339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ight Arrow 19"/>
            <p:cNvSpPr/>
            <p:nvPr/>
          </p:nvSpPr>
          <p:spPr>
            <a:xfrm>
              <a:off x="1150951" y="3079433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1284408" y="3644948"/>
              <a:ext cx="7589591" cy="499326"/>
            </a:xfrm>
            <a:prstGeom prst="rect">
              <a:avLst/>
            </a:prstGeom>
            <a:gradFill>
              <a:gsLst>
                <a:gs pos="20000">
                  <a:schemeClr val="bg2"/>
                </a:gs>
                <a:gs pos="100000">
                  <a:schemeClr val="bg1"/>
                </a:gs>
              </a:gsLst>
              <a:lin ang="0" scaled="0"/>
            </a:gradFill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lIns="504000" tIns="91440" rIns="180000" bIns="91440" anchor="ctr"/>
            <a:lstStyle/>
            <a:p>
              <a:r>
                <a:rPr lang="cs-CZ" sz="2000" b="1" dirty="0" err="1" smtClean="0"/>
                <a:t>Review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code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translating</a:t>
              </a:r>
              <a:r>
                <a:rPr lang="cs-CZ" sz="2000" b="1" dirty="0" smtClean="0"/>
                <a:t> </a:t>
              </a:r>
              <a:r>
                <a:rPr lang="cs-CZ" sz="2000" b="1" dirty="0" err="1" smtClean="0"/>
                <a:t>progress</a:t>
              </a:r>
              <a:endParaRPr lang="en-US" sz="2000" b="1" dirty="0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285278" y="3644948"/>
              <a:ext cx="314080" cy="318545"/>
            </a:xfrm>
            <a:prstGeom prst="rtTriangl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71330" y="3963493"/>
              <a:ext cx="428028" cy="499327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4472C4"/>
            </a:solidFill>
            <a:ln w="12700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>
              <a:off x="1150951" y="4046587"/>
              <a:ext cx="284148" cy="333138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10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team </a:t>
            </a:r>
            <a:r>
              <a:rPr lang="cs-CZ" dirty="0" err="1" smtClean="0">
                <a:solidFill>
                  <a:schemeClr val="bg1"/>
                </a:solidFill>
              </a:rPr>
              <a:t>assesment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4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865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eam</a:t>
            </a:r>
            <a:r>
              <a:rPr lang="cs-CZ" dirty="0" smtClean="0"/>
              <a:t> Update</a:t>
            </a:r>
            <a:endParaRPr lang="cs-CZ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8767206"/>
              </p:ext>
            </p:extLst>
          </p:nvPr>
        </p:nvGraphicFramePr>
        <p:xfrm>
          <a:off x="455613" y="2478437"/>
          <a:ext cx="8063055" cy="3958341"/>
        </p:xfrm>
        <a:graphic>
          <a:graphicData uri="http://schemas.openxmlformats.org/drawingml/2006/table">
            <a:tbl>
              <a:tblPr/>
              <a:tblGrid>
                <a:gridCol w="2617951"/>
                <a:gridCol w="2719602"/>
                <a:gridCol w="2725502"/>
              </a:tblGrid>
              <a:tr h="509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am Rol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Name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ontact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roject Lead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arek Szeles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zelemar@fel.cvut.cz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AC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nalys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o Minh Thanh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intha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Development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avid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öffl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fflda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Head of Testing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ryštof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Sýkora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korkry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Miroslav </a:t>
                      </a:r>
                      <a:r>
                        <a:rPr lang="cs-CZ" sz="140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Rudiši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dismi1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Develop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Jan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Kohou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ouj13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6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Tester</a:t>
                      </a: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Yevgeniya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4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Chekh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khyev@fel.cvut.cz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675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smtClean="0">
                <a:solidFill>
                  <a:schemeClr val="bg1"/>
                </a:solidFill>
              </a:rPr>
              <a:t>Project status </a:t>
            </a:r>
            <a:r>
              <a:rPr lang="cs-CZ" dirty="0" err="1" smtClean="0">
                <a:solidFill>
                  <a:schemeClr val="bg1"/>
                </a:solidFill>
              </a:rPr>
              <a:t>overview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3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730" y="2535381"/>
            <a:ext cx="4428211" cy="19553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731" y="4232185"/>
            <a:ext cx="8410224" cy="21843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ject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being</a:t>
            </a:r>
            <a:r>
              <a:rPr lang="cs-CZ" dirty="0" smtClean="0"/>
              <a:t> </a:t>
            </a:r>
            <a:r>
              <a:rPr lang="cs-CZ" dirty="0" err="1" smtClean="0"/>
              <a:t>steadily</a:t>
            </a:r>
            <a:r>
              <a:rPr lang="cs-CZ" dirty="0" smtClean="0"/>
              <a:t> </a:t>
            </a:r>
            <a:r>
              <a:rPr lang="cs-CZ" dirty="0" err="1" smtClean="0"/>
              <a:t>updated</a:t>
            </a:r>
            <a:r>
              <a:rPr lang="cs-CZ" dirty="0" smtClean="0"/>
              <a:t>…</a:t>
            </a:r>
            <a:endParaRPr lang="cs-CZ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6883" y="2780880"/>
            <a:ext cx="4652684" cy="190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564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think-cell Slide" r:id="rId109" imgW="270" imgH="270" progId="TCLayout.ActiveDocument.1">
                  <p:embed/>
                </p:oleObj>
              </mc:Choice>
              <mc:Fallback>
                <p:oleObj name="think-cell Slide" r:id="rId10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and </a:t>
            </a:r>
            <a:r>
              <a:rPr lang="cs-CZ" dirty="0" err="1" smtClean="0"/>
              <a:t>we</a:t>
            </a:r>
            <a:r>
              <a:rPr lang="cs-CZ" dirty="0" smtClean="0"/>
              <a:t> are </a:t>
            </a:r>
            <a:r>
              <a:rPr lang="cs-CZ" dirty="0" err="1" smtClean="0"/>
              <a:t>still</a:t>
            </a:r>
            <a:r>
              <a:rPr lang="cs-CZ" dirty="0" smtClean="0"/>
              <a:t> </a:t>
            </a:r>
            <a:r>
              <a:rPr lang="cs-CZ" dirty="0" err="1" smtClean="0"/>
              <a:t>within</a:t>
            </a:r>
            <a:r>
              <a:rPr lang="cs-CZ" dirty="0" smtClean="0"/>
              <a:t> </a:t>
            </a:r>
            <a:r>
              <a:rPr lang="cs-CZ" dirty="0" err="1" smtClean="0"/>
              <a:t>planned</a:t>
            </a:r>
            <a:r>
              <a:rPr lang="cs-CZ" dirty="0" smtClean="0"/>
              <a:t> </a:t>
            </a:r>
            <a:r>
              <a:rPr lang="cs-CZ" dirty="0" err="1" smtClean="0"/>
              <a:t>schedule</a:t>
            </a:r>
            <a:endParaRPr lang="cs-CZ" dirty="0"/>
          </a:p>
        </p:txBody>
      </p:sp>
      <p:sp>
        <p:nvSpPr>
          <p:cNvPr id="114" name="Rectangle 113"/>
          <p:cNvSpPr/>
          <p:nvPr>
            <p:custDataLst>
              <p:tags r:id="rId4"/>
            </p:custDataLst>
          </p:nvPr>
        </p:nvSpPr>
        <p:spPr bwMode="gray">
          <a:xfrm>
            <a:off x="7034961" y="4573588"/>
            <a:ext cx="861264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/>
          <p:cNvSpPr/>
          <p:nvPr>
            <p:custDataLst>
              <p:tags r:id="rId5"/>
            </p:custDataLst>
          </p:nvPr>
        </p:nvSpPr>
        <p:spPr bwMode="gray">
          <a:xfrm>
            <a:off x="6551895" y="4573588"/>
            <a:ext cx="476714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/>
          <p:cNvSpPr/>
          <p:nvPr>
            <p:custDataLst>
              <p:tags r:id="rId6"/>
            </p:custDataLst>
          </p:nvPr>
        </p:nvSpPr>
        <p:spPr bwMode="gray">
          <a:xfrm>
            <a:off x="7962900" y="4573588"/>
            <a:ext cx="471488" cy="115887"/>
          </a:xfrm>
          <a:prstGeom prst="rect">
            <a:avLst/>
          </a:prstGeom>
          <a:solidFill>
            <a:srgbClr val="E2E2E2"/>
          </a:solidFill>
          <a:ln w="9525">
            <a:solidFill>
              <a:schemeClr val="hlink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gray">
          <a:xfrm>
            <a:off x="7028609" y="4215607"/>
            <a:ext cx="86761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/>
          <p:cNvSpPr/>
          <p:nvPr>
            <p:custDataLst>
              <p:tags r:id="rId8"/>
            </p:custDataLst>
          </p:nvPr>
        </p:nvSpPr>
        <p:spPr bwMode="gray">
          <a:xfrm>
            <a:off x="406400" y="4865688"/>
            <a:ext cx="1704975" cy="4603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/>
          <p:cNvSpPr/>
          <p:nvPr>
            <p:custDataLst>
              <p:tags r:id="rId9"/>
            </p:custDataLst>
          </p:nvPr>
        </p:nvSpPr>
        <p:spPr bwMode="gray">
          <a:xfrm>
            <a:off x="406400" y="3741738"/>
            <a:ext cx="1704975" cy="3571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10"/>
            </p:custDataLst>
          </p:nvPr>
        </p:nvSpPr>
        <p:spPr bwMode="gray">
          <a:xfrm>
            <a:off x="406400" y="4457700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tangle 120"/>
          <p:cNvSpPr/>
          <p:nvPr>
            <p:custDataLst>
              <p:tags r:id="rId11"/>
            </p:custDataLst>
          </p:nvPr>
        </p:nvSpPr>
        <p:spPr bwMode="gray">
          <a:xfrm>
            <a:off x="406400" y="3232150"/>
            <a:ext cx="1704975" cy="5095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/>
          <p:cNvSpPr/>
          <p:nvPr>
            <p:custDataLst>
              <p:tags r:id="rId12"/>
            </p:custDataLst>
          </p:nvPr>
        </p:nvSpPr>
        <p:spPr bwMode="gray">
          <a:xfrm>
            <a:off x="406400" y="5326063"/>
            <a:ext cx="1704975" cy="78422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13"/>
            </p:custDataLst>
          </p:nvPr>
        </p:nvSpPr>
        <p:spPr bwMode="gray">
          <a:xfrm>
            <a:off x="406400" y="2824163"/>
            <a:ext cx="1704975" cy="407988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14"/>
            </p:custDataLst>
          </p:nvPr>
        </p:nvSpPr>
        <p:spPr bwMode="gray">
          <a:xfrm>
            <a:off x="406400" y="4098925"/>
            <a:ext cx="1704975" cy="358775"/>
          </a:xfrm>
          <a:prstGeom prst="rect">
            <a:avLst/>
          </a:prstGeom>
          <a:solidFill>
            <a:srgbClr val="E2E2E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15"/>
            </p:custDataLst>
          </p:nvPr>
        </p:nvSpPr>
        <p:spPr bwMode="gray">
          <a:xfrm>
            <a:off x="7896225" y="2824163"/>
            <a:ext cx="66675" cy="3286125"/>
          </a:xfrm>
          <a:prstGeom prst="rect">
            <a:avLst/>
          </a:prstGeom>
          <a:solidFill>
            <a:srgbClr val="D2E0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1375" y="2324100"/>
            <a:ext cx="604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E11DA2-0479-4402-B690-2CD9A0F31D42}" type="datetime'''''''''''''''''''''''''''''''''''''''''''Feb'''''''''">
              <a:rPr lang="en-US" altLang="en-US" sz="1200">
                <a:latin typeface="+mn-lt"/>
                <a:sym typeface="+mn-lt"/>
              </a:rPr>
              <a:pPr/>
              <a:t>Feb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16213" y="2324100"/>
            <a:ext cx="20859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FEDF00-46B0-47BD-8B2B-78F7A1BDD914}" type="datetime'''M''a''''''''''''''r'''">
              <a:rPr lang="en-US" altLang="en-US" sz="1200">
                <a:latin typeface="+mn-lt"/>
                <a:sym typeface="+mn-lt"/>
              </a:rPr>
              <a:pPr/>
              <a:t>Ma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02188" y="2324100"/>
            <a:ext cx="2017713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7B44F5-F3A8-429D-9E09-10B44669C1CF}" type="datetime'''''''''''''A''''p''''''''''''''r'''''''''''''''''''">
              <a:rPr lang="en-US" altLang="en-US" sz="1200">
                <a:latin typeface="+mn-lt"/>
                <a:sym typeface="+mn-lt"/>
              </a:rPr>
              <a:pPr/>
              <a:t>Apr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19900" y="2324100"/>
            <a:ext cx="18827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77A91F-6BB4-4C5B-AA87-9D40F07AAB6C}" type="datetime'M''''''''''''''''''''''''''''''''''''a''''''y'''''''''''''''''">
              <a:rPr lang="en-US" altLang="en-US" sz="1200">
                <a:latin typeface="+mn-lt"/>
                <a:sym typeface="+mn-lt"/>
              </a:rPr>
              <a:pPr/>
              <a:t>May</a:t>
            </a:fld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11137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6DD0DE-5828-4649-8BB9-D35AF0ECC810}" type="datetime'''''''''''0''''''''''''''''''''''''''''''''8'">
              <a:rPr lang="en-US" altLang="en-US" sz="1000">
                <a:latin typeface="+mn-lt"/>
                <a:sym typeface="+mn-lt"/>
              </a:rPr>
              <a:pPr/>
              <a:t>0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8286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FE6014A-9AB7-4E9B-8FC9-208B94BEA322}" type="datetime'''''''''''''0''''''''''''''9'''''''">
              <a:rPr lang="en-US" altLang="en-US" sz="1000">
                <a:latin typeface="+mn-lt"/>
                <a:sym typeface="+mn-lt"/>
              </a:rPr>
              <a:pPr/>
              <a:t>0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276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ADCEE9B-1C4F-46C9-8221-1CF6810156AA}" type="datetime'''1''''''''''''''''''''''''''''''''''''''''''''''''0'">
              <a:rPr lang="en-US" altLang="en-US" sz="1000">
                <a:latin typeface="+mn-lt"/>
                <a:sym typeface="+mn-lt"/>
              </a:rPr>
              <a:pPr/>
              <a:t>1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2425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9416F51-2BED-4154-BCE3-C66756847741}" type="datetime'1''''''''''1'''''''''''''''''''''''''''''''''''">
              <a:rPr lang="en-US" altLang="en-US" sz="1000">
                <a:latin typeface="+mn-lt"/>
                <a:sym typeface="+mn-lt"/>
              </a:rPr>
              <a:pPr/>
              <a:t>11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9415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7E519C-0B16-499C-91B7-7D66FE7053C3}" type="datetime'''''''''''''''''''''''''''''''''''''''''''12'''''''">
              <a:rPr lang="en-US" altLang="en-US" sz="1000">
                <a:latin typeface="+mn-lt"/>
                <a:sym typeface="+mn-lt"/>
              </a:rPr>
              <a:pPr/>
              <a:t>12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6563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B9D875-907C-41E3-9646-B3DAB5509A72}" type="datetime'''''''1''''3'''''''''''''''''''">
              <a:rPr lang="en-US" altLang="en-US" sz="1000">
                <a:latin typeface="+mn-lt"/>
                <a:sym typeface="+mn-lt"/>
              </a:rPr>
              <a:pPr/>
              <a:t>13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3553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82B804-7941-4197-B7E5-0BC5769C4A98}" type="datetime'''''''1''''''''''''''''''''''''''''''''4'''''">
              <a:rPr lang="en-US" altLang="en-US" sz="1000">
                <a:latin typeface="+mn-lt"/>
                <a:sym typeface="+mn-lt"/>
              </a:rPr>
              <a:pPr/>
              <a:t>14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407025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1E4C97-D7FD-465D-A15D-855F918B2DC3}" type="datetime'''''''''''''''''1''''''''''''''''''''''''''''''''''5'''''">
              <a:rPr lang="en-US" altLang="en-US" sz="1000">
                <a:latin typeface="+mn-lt"/>
                <a:sym typeface="+mn-lt"/>
              </a:rPr>
              <a:pPr/>
              <a:t>15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78513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3AAC9B-E3ED-4E0D-9945-C83EF149A9B0}" type="datetime'''''''''1''''''''''''''''''''''''6'''''''''''''''">
              <a:rPr lang="en-US" altLang="en-US" sz="1000">
                <a:latin typeface="+mn-lt"/>
                <a:sym typeface="+mn-lt"/>
              </a:rPr>
              <a:pPr/>
              <a:t>16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48413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E0C55B-7C15-4EB4-BAE4-F2F912B71A64}" type="datetime'17'''''''''''''''">
              <a:rPr lang="en-US" altLang="en-US" sz="1000">
                <a:latin typeface="+mn-lt"/>
                <a:sym typeface="+mn-lt"/>
              </a:rPr>
              <a:pPr/>
              <a:t>17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19900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FD5D7-4BAC-491A-9847-EC4576717F9C}" type="datetime'''''''''1''''''''''''''''''''''''''''''''''''''8'''''''">
              <a:rPr lang="en-US" altLang="en-US" sz="1000">
                <a:latin typeface="+mn-lt"/>
                <a:sym typeface="+mn-lt"/>
              </a:rPr>
              <a:pPr/>
              <a:t>18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89800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AAC9C6-E904-4CDC-BBEA-52BA6250C01F}" type="datetime'''''''''''''1''''''''''''''''''9'''''''''''''''''">
              <a:rPr lang="en-US" altLang="en-US" sz="1000">
                <a:latin typeface="+mn-lt"/>
                <a:sym typeface="+mn-lt"/>
              </a:rPr>
              <a:pPr/>
              <a:t>19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761288" y="2589213"/>
            <a:ext cx="4699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685C27-2F57-4C17-A5ED-AFCB1FDE6571}" type="datetime'''''''''''''''''2''''''''''0'''''''''''''''''''''''''">
              <a:rPr lang="en-US" altLang="en-US" sz="1000">
                <a:latin typeface="+mn-lt"/>
                <a:sym typeface="+mn-lt"/>
              </a:rPr>
              <a:pPr/>
              <a:t>20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231188" y="2589213"/>
            <a:ext cx="4714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3FDBF1-BF2D-4426-A7FF-75EFCAA47424}" type="datetime'''''''''''''2''''''1'''''''''''">
              <a:rPr lang="en-US" altLang="en-US" sz="1000">
                <a:latin typeface="+mn-lt"/>
                <a:sym typeface="+mn-lt"/>
              </a:rPr>
              <a:pPr/>
              <a:t>21</a:t>
            </a:fld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155" name="Straight Connector 154"/>
          <p:cNvCxnSpPr/>
          <p:nvPr>
            <p:custDataLst>
              <p:tags r:id="rId34"/>
            </p:custDataLst>
          </p:nvPr>
        </p:nvCxnSpPr>
        <p:spPr bwMode="gray">
          <a:xfrm>
            <a:off x="2111375" y="2589213"/>
            <a:ext cx="6048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35"/>
            </p:custDataLst>
          </p:nvPr>
        </p:nvCxnSpPr>
        <p:spPr bwMode="gray">
          <a:xfrm>
            <a:off x="4802188" y="2589213"/>
            <a:ext cx="201771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36"/>
            </p:custDataLst>
          </p:nvPr>
        </p:nvCxnSpPr>
        <p:spPr bwMode="gray">
          <a:xfrm>
            <a:off x="6819900" y="2589213"/>
            <a:ext cx="18827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37"/>
            </p:custDataLst>
          </p:nvPr>
        </p:nvCxnSpPr>
        <p:spPr bwMode="gray">
          <a:xfrm>
            <a:off x="2716213" y="2589213"/>
            <a:ext cx="20859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38"/>
            </p:custDataLst>
          </p:nvPr>
        </p:nvCxnSpPr>
        <p:spPr bwMode="gray">
          <a:xfrm>
            <a:off x="2111375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39"/>
            </p:custDataLst>
          </p:nvPr>
        </p:nvCxnSpPr>
        <p:spPr bwMode="gray">
          <a:xfrm>
            <a:off x="6819900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40"/>
            </p:custDataLst>
          </p:nvPr>
        </p:nvCxnSpPr>
        <p:spPr bwMode="gray">
          <a:xfrm>
            <a:off x="4802188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41"/>
            </p:custDataLst>
          </p:nvPr>
        </p:nvCxnSpPr>
        <p:spPr bwMode="gray">
          <a:xfrm>
            <a:off x="2716213" y="2824163"/>
            <a:ext cx="0" cy="3286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/>
          <p:nvPr>
            <p:custDataLst>
              <p:tags r:id="rId42"/>
            </p:custDataLst>
          </p:nvPr>
        </p:nvSpPr>
        <p:spPr bwMode="gray">
          <a:xfrm>
            <a:off x="7028609" y="3857625"/>
            <a:ext cx="261191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/>
          <p:cNvSpPr/>
          <p:nvPr>
            <p:custDataLst>
              <p:tags r:id="rId43"/>
            </p:custDataLst>
          </p:nvPr>
        </p:nvSpPr>
        <p:spPr bwMode="gray">
          <a:xfrm>
            <a:off x="3725863" y="3857625"/>
            <a:ext cx="1412875" cy="115888"/>
          </a:xfrm>
          <a:prstGeom prst="rect">
            <a:avLst/>
          </a:prstGeom>
          <a:solidFill>
            <a:srgbClr val="E2E2E2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/>
          <p:cNvSpPr/>
          <p:nvPr>
            <p:custDataLst>
              <p:tags r:id="rId44"/>
            </p:custDataLst>
          </p:nvPr>
        </p:nvSpPr>
        <p:spPr bwMode="gray">
          <a:xfrm>
            <a:off x="7962900" y="3857625"/>
            <a:ext cx="471488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/>
          <p:cNvSpPr/>
          <p:nvPr>
            <p:custDataLst>
              <p:tags r:id="rId45"/>
            </p:custDataLst>
          </p:nvPr>
        </p:nvSpPr>
        <p:spPr bwMode="gray">
          <a:xfrm>
            <a:off x="7289800" y="3857625"/>
            <a:ext cx="606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/>
          <p:cNvSpPr/>
          <p:nvPr>
            <p:custDataLst>
              <p:tags r:id="rId46"/>
            </p:custDataLst>
          </p:nvPr>
        </p:nvSpPr>
        <p:spPr bwMode="gray">
          <a:xfrm>
            <a:off x="5138738" y="3857625"/>
            <a:ext cx="1889872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/>
          <p:cNvSpPr/>
          <p:nvPr>
            <p:custDataLst>
              <p:tags r:id="rId47"/>
            </p:custDataLst>
          </p:nvPr>
        </p:nvSpPr>
        <p:spPr bwMode="gray">
          <a:xfrm>
            <a:off x="2319339" y="3857625"/>
            <a:ext cx="1406524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Rectangle 168"/>
          <p:cNvSpPr/>
          <p:nvPr>
            <p:custDataLst>
              <p:tags r:id="rId48"/>
            </p:custDataLst>
          </p:nvPr>
        </p:nvSpPr>
        <p:spPr bwMode="gray">
          <a:xfrm>
            <a:off x="2120900" y="2990850"/>
            <a:ext cx="1133475" cy="1158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>
            <p:custDataLst>
              <p:tags r:id="rId49"/>
            </p:custDataLst>
          </p:nvPr>
        </p:nvSpPr>
        <p:spPr bwMode="gray">
          <a:xfrm>
            <a:off x="3725863" y="4214813"/>
            <a:ext cx="3302747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>
            <p:custDataLst>
              <p:tags r:id="rId50"/>
            </p:custDataLst>
          </p:nvPr>
        </p:nvSpPr>
        <p:spPr bwMode="gray">
          <a:xfrm>
            <a:off x="2312988" y="3348038"/>
            <a:ext cx="941388" cy="1158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Connector 171"/>
          <p:cNvCxnSpPr/>
          <p:nvPr>
            <p:custDataLst>
              <p:tags r:id="rId51"/>
            </p:custDataLst>
          </p:nvPr>
        </p:nvCxnSpPr>
        <p:spPr bwMode="white">
          <a:xfrm>
            <a:off x="5407025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52"/>
            </p:custDataLst>
          </p:nvPr>
        </p:nvCxnSpPr>
        <p:spPr bwMode="white">
          <a:xfrm>
            <a:off x="58785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white">
          <a:xfrm>
            <a:off x="49355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4"/>
            </p:custDataLst>
          </p:nvPr>
        </p:nvCxnSpPr>
        <p:spPr bwMode="white">
          <a:xfrm>
            <a:off x="728980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5"/>
            </p:custDataLst>
          </p:nvPr>
        </p:nvCxnSpPr>
        <p:spPr bwMode="white">
          <a:xfrm>
            <a:off x="77612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6"/>
            </p:custDataLst>
          </p:nvPr>
        </p:nvCxnSpPr>
        <p:spPr bwMode="white">
          <a:xfrm>
            <a:off x="634841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57"/>
            </p:custDataLst>
          </p:nvPr>
        </p:nvCxnSpPr>
        <p:spPr bwMode="white">
          <a:xfrm>
            <a:off x="446563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58"/>
            </p:custDataLst>
          </p:nvPr>
        </p:nvCxnSpPr>
        <p:spPr bwMode="white">
          <a:xfrm>
            <a:off x="8231188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59"/>
            </p:custDataLst>
          </p:nvPr>
        </p:nvCxnSpPr>
        <p:spPr bwMode="white">
          <a:xfrm>
            <a:off x="39941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60"/>
            </p:custDataLst>
          </p:nvPr>
        </p:nvCxnSpPr>
        <p:spPr bwMode="white">
          <a:xfrm>
            <a:off x="3524250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61"/>
            </p:custDataLst>
          </p:nvPr>
        </p:nvCxnSpPr>
        <p:spPr bwMode="white">
          <a:xfrm>
            <a:off x="30527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62"/>
            </p:custDataLst>
          </p:nvPr>
        </p:nvCxnSpPr>
        <p:spPr bwMode="white">
          <a:xfrm>
            <a:off x="2582863" y="2824163"/>
            <a:ext cx="0" cy="32861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63"/>
            </p:custDataLst>
          </p:nvPr>
        </p:nvCxnSpPr>
        <p:spPr bwMode="gray">
          <a:xfrm>
            <a:off x="406400" y="5326063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64"/>
            </p:custDataLst>
          </p:nvPr>
        </p:nvCxnSpPr>
        <p:spPr bwMode="gray">
          <a:xfrm>
            <a:off x="406400" y="4865688"/>
            <a:ext cx="829627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65"/>
            </p:custDataLst>
          </p:nvPr>
        </p:nvCxnSpPr>
        <p:spPr bwMode="gray">
          <a:xfrm>
            <a:off x="278447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66"/>
            </p:custDataLst>
          </p:nvPr>
        </p:nvCxnSpPr>
        <p:spPr bwMode="gray">
          <a:xfrm>
            <a:off x="3725863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67"/>
            </p:custDataLst>
          </p:nvPr>
        </p:nvCxnSpPr>
        <p:spPr bwMode="gray">
          <a:xfrm>
            <a:off x="23129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8"/>
            </p:custDataLst>
          </p:nvPr>
        </p:nvCxnSpPr>
        <p:spPr bwMode="gray">
          <a:xfrm>
            <a:off x="6550025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69"/>
            </p:custDataLst>
          </p:nvPr>
        </p:nvCxnSpPr>
        <p:spPr bwMode="gray">
          <a:xfrm>
            <a:off x="8434388" y="2824163"/>
            <a:ext cx="0" cy="3286125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>
            <p:custDataLst>
              <p:tags r:id="rId70"/>
            </p:custDataLst>
          </p:nvPr>
        </p:nvCxnSpPr>
        <p:spPr bwMode="gray">
          <a:xfrm>
            <a:off x="406400" y="2824163"/>
            <a:ext cx="82962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ight Bracket 191"/>
          <p:cNvSpPr/>
          <p:nvPr>
            <p:custDataLst>
              <p:tags r:id="rId71"/>
            </p:custDataLst>
          </p:nvPr>
        </p:nvSpPr>
        <p:spPr bwMode="gray">
          <a:xfrm rot="5400000">
            <a:off x="7875588" y="6167438"/>
            <a:ext cx="107950" cy="6667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Isosceles Triangle 192"/>
          <p:cNvSpPr/>
          <p:nvPr>
            <p:custDataLst>
              <p:tags r:id="rId72"/>
            </p:custDataLst>
          </p:nvPr>
        </p:nvSpPr>
        <p:spPr bwMode="gray">
          <a:xfrm rot="10800000">
            <a:off x="7896225" y="6254750"/>
            <a:ext cx="66675" cy="1079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Isosceles Triangle 193"/>
          <p:cNvSpPr/>
          <p:nvPr>
            <p:custDataLst>
              <p:tags r:id="rId73"/>
            </p:custDataLst>
          </p:nvPr>
        </p:nvSpPr>
        <p:spPr bwMode="gray">
          <a:xfrm>
            <a:off x="8361363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Isosceles Triangle 194"/>
          <p:cNvSpPr/>
          <p:nvPr>
            <p:custDataLst>
              <p:tags r:id="rId74"/>
            </p:custDataLst>
          </p:nvPr>
        </p:nvSpPr>
        <p:spPr bwMode="gray">
          <a:xfrm>
            <a:off x="7889875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Isosceles Triangle 195"/>
          <p:cNvSpPr/>
          <p:nvPr>
            <p:custDataLst>
              <p:tags r:id="rId75"/>
            </p:custDataLst>
          </p:nvPr>
        </p:nvSpPr>
        <p:spPr bwMode="gray">
          <a:xfrm>
            <a:off x="7418388" y="5026025"/>
            <a:ext cx="146050" cy="127000"/>
          </a:xfrm>
          <a:prstGeom prst="triangle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Diamond 197"/>
          <p:cNvSpPr/>
          <p:nvPr>
            <p:custDataLst>
              <p:tags r:id="rId76"/>
            </p:custDataLst>
          </p:nvPr>
        </p:nvSpPr>
        <p:spPr bwMode="gray">
          <a:xfrm>
            <a:off x="83613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Diamond 198"/>
          <p:cNvSpPr/>
          <p:nvPr>
            <p:custDataLst>
              <p:tags r:id="rId77"/>
            </p:custDataLst>
          </p:nvPr>
        </p:nvSpPr>
        <p:spPr bwMode="gray">
          <a:xfrm>
            <a:off x="647700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Diamond 199"/>
          <p:cNvSpPr/>
          <p:nvPr>
            <p:custDataLst>
              <p:tags r:id="rId78"/>
            </p:custDataLst>
          </p:nvPr>
        </p:nvSpPr>
        <p:spPr bwMode="gray">
          <a:xfrm>
            <a:off x="3652838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Isosceles Triangle 200"/>
          <p:cNvSpPr/>
          <p:nvPr>
            <p:custDataLst>
              <p:tags r:id="rId79"/>
            </p:custDataLst>
          </p:nvPr>
        </p:nvSpPr>
        <p:spPr bwMode="gray">
          <a:xfrm>
            <a:off x="271145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Diamond 201"/>
          <p:cNvSpPr/>
          <p:nvPr>
            <p:custDataLst>
              <p:tags r:id="rId80"/>
            </p:custDataLst>
          </p:nvPr>
        </p:nvSpPr>
        <p:spPr bwMode="gray">
          <a:xfrm>
            <a:off x="2711450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202"/>
          <p:cNvSpPr/>
          <p:nvPr>
            <p:custDataLst>
              <p:tags r:id="rId81"/>
            </p:custDataLst>
          </p:nvPr>
        </p:nvSpPr>
        <p:spPr bwMode="gray">
          <a:xfrm>
            <a:off x="2239963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Diamond 203"/>
          <p:cNvSpPr/>
          <p:nvPr>
            <p:custDataLst>
              <p:tags r:id="rId82"/>
            </p:custDataLst>
          </p:nvPr>
        </p:nvSpPr>
        <p:spPr bwMode="gray">
          <a:xfrm>
            <a:off x="2239963" y="5476875"/>
            <a:ext cx="146050" cy="146050"/>
          </a:xfrm>
          <a:prstGeom prst="diamond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01650" y="4202113"/>
            <a:ext cx="1285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evelopment in Java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06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6119813" y="5645150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EFD67E-4E12-4687-B8CF-C831FB395B10}" type="datetime'''2''''''7''.'''''''''''' ''''Apr ''''''''2''''''''0''1''7'''">
              <a:rPr lang="en-US" altLang="en-US" sz="1000"/>
              <a:pPr/>
              <a:t>27. Ap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Testing Phase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01650" y="2978150"/>
            <a:ext cx="1397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Project Scope Analysi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01650" y="5019675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err="1" smtClean="0">
                <a:latin typeface="+mn-lt"/>
                <a:sym typeface="+mn-lt"/>
              </a:rPr>
              <a:t>SteerCo</a:t>
            </a:r>
            <a:r>
              <a:rPr lang="en-US" altLang="en-US" sz="1000" b="1" dirty="0" smtClean="0">
                <a:latin typeface="+mn-lt"/>
                <a:sym typeface="+mn-lt"/>
              </a:rPr>
              <a:t> Meetings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01650" y="3844925"/>
            <a:ext cx="151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Documentation Creation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0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1701800" y="5645150"/>
            <a:ext cx="796925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D93C46-65C0-4D1E-A96D-A53BEF97FD93}" type="datetime'''''''''''''''''23. ''F''''''''''''eb'''' ''2''''''01''7''''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. Feb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Team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ssembly</a:t>
            </a:r>
            <a:endParaRPr lang="en-US" sz="1000" dirty="0">
              <a:sym typeface="+mn-lt"/>
            </a:endParaRPr>
          </a:p>
        </p:txBody>
      </p:sp>
      <p:sp useBgFill="1">
        <p:nvSpPr>
          <p:cNvPr id="211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93975" y="5645150"/>
            <a:ext cx="80645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453D49-A973-49CA-AB70-6CD521EFF1B0}" type="datetime'0''''''2''. ''''''''''M''a''''''''''r'' ''201''''''''''7'">
              <a:rPr lang="en-US" altLang="en-US" sz="1000" smtClean="0">
                <a:latin typeface="+mn-lt"/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2. Mar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Proposal</a:t>
            </a:r>
            <a:br>
              <a:rPr lang="en-US" altLang="en-US" sz="1000" dirty="0">
                <a:sym typeface="+mn-lt"/>
              </a:rPr>
            </a:br>
            <a:r>
              <a:rPr lang="en-US" altLang="en-US" sz="1000" dirty="0" smtClean="0">
                <a:sym typeface="+mn-lt"/>
              </a:rPr>
              <a:t>Agreement</a:t>
            </a:r>
            <a:endParaRPr lang="en-US" sz="1000" dirty="0">
              <a:sym typeface="+mn-lt"/>
            </a:endParaRPr>
          </a:p>
        </p:txBody>
      </p:sp>
      <p:sp>
        <p:nvSpPr>
          <p:cNvPr id="212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01650" y="456088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Test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01650" y="3335338"/>
            <a:ext cx="11588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>
                <a:latin typeface="+mn-lt"/>
                <a:sym typeface="+mn-lt"/>
              </a:rPr>
              <a:t>CASA Architecture </a:t>
            </a:r>
            <a:br>
              <a:rPr lang="en-US" altLang="en-US" sz="1000" b="1" dirty="0" smtClean="0">
                <a:latin typeface="+mn-lt"/>
                <a:sym typeface="+mn-lt"/>
              </a:rPr>
            </a:br>
            <a:r>
              <a:rPr lang="en-US" altLang="en-US" sz="1000" b="1" dirty="0" smtClean="0">
                <a:latin typeface="+mn-lt"/>
                <a:sym typeface="+mn-lt"/>
              </a:rPr>
              <a:t>Mapping</a:t>
            </a:r>
            <a:endParaRPr lang="en-US" sz="1000" b="1" dirty="0">
              <a:latin typeface="+mn-lt"/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01650" y="2600325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2D01C07-0159-494E-B897-6C778381CC27}" type="datetime'''A''''''c''''''''t''''i''''v''''i''''''''''''ty'''''">
              <a:rPr lang="en-US" altLang="en-US" sz="1200" b="1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200" b="1" dirty="0">
              <a:latin typeface="+mn-lt"/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1650" y="5480050"/>
            <a:ext cx="677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 smtClean="0"/>
              <a:t>Milestones</a:t>
            </a:r>
            <a:endParaRPr lang="en-US" sz="1000" b="1" dirty="0">
              <a:latin typeface="+mn-lt"/>
              <a:sym typeface="+mn-lt"/>
            </a:endParaRPr>
          </a:p>
        </p:txBody>
      </p:sp>
      <p:sp useBgFill="1">
        <p:nvSpPr>
          <p:cNvPr id="216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7997825" y="5645150"/>
            <a:ext cx="874713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B3C1A9-6231-4B55-B79F-D312F435A20B}" type="datetime'''25''''''.'''' ''May'' ''2''0''''''''''''''''''''''''''17'''">
              <a:rPr lang="en-US" altLang="en-US" sz="1000" smtClean="0">
                <a:latin typeface="+mn-lt"/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. May 2017</a:t>
            </a:fld>
            <a:endParaRPr lang="en-US" altLang="en-US" sz="1000" dirty="0" smtClean="0">
              <a:latin typeface="+mn-lt"/>
              <a:sym typeface="+mn-lt"/>
            </a:endParaRP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ym typeface="+mn-lt"/>
              </a:rPr>
              <a:t>Final outcome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 smtClean="0">
                <a:sym typeface="+mn-lt"/>
              </a:rPr>
              <a:t>hand-in</a:t>
            </a:r>
            <a:endParaRPr lang="en-US" sz="1000" dirty="0">
              <a:sym typeface="+mn-lt"/>
            </a:endParaRPr>
          </a:p>
        </p:txBody>
      </p:sp>
      <p:sp useBgFill="1">
        <p:nvSpPr>
          <p:cNvPr id="21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66831" y="6279248"/>
            <a:ext cx="531813" cy="1524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sym typeface="+mn-lt"/>
              </a:rPr>
              <a:t>Rector </a:t>
            </a:r>
            <a:br>
              <a:rPr lang="en-US" sz="1000" dirty="0" smtClean="0">
                <a:sym typeface="+mn-lt"/>
              </a:rPr>
            </a:br>
            <a:r>
              <a:rPr lang="en-US" sz="1000" dirty="0" smtClean="0">
                <a:sym typeface="+mn-lt"/>
              </a:rPr>
              <a:t>day off</a:t>
            </a:r>
            <a:endParaRPr lang="en-US" sz="1000" dirty="0">
              <a:latin typeface="+mn-lt"/>
              <a:sym typeface="+mn-lt"/>
            </a:endParaRPr>
          </a:p>
        </p:txBody>
      </p:sp>
      <p:cxnSp>
        <p:nvCxnSpPr>
          <p:cNvPr id="218" name="Straight Connector 217"/>
          <p:cNvCxnSpPr/>
          <p:nvPr>
            <p:custDataLst>
              <p:tags r:id="rId96"/>
            </p:custDataLst>
          </p:nvPr>
        </p:nvCxnSpPr>
        <p:spPr bwMode="gray">
          <a:xfrm>
            <a:off x="7028610" y="2824163"/>
            <a:ext cx="0" cy="3286125"/>
          </a:xfrm>
          <a:prstGeom prst="line">
            <a:avLst/>
          </a:prstGeom>
          <a:ln w="38100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19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619500" y="6143718"/>
            <a:ext cx="862013" cy="3048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We</a:t>
            </a:r>
            <a:r>
              <a:rPr lang="cs-CZ" altLang="en-US" sz="1800" dirty="0" smtClean="0">
                <a:solidFill>
                  <a:schemeClr val="accent2"/>
                </a:solidFill>
              </a:rPr>
              <a:t> are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cs-CZ" altLang="en-US" sz="1800" dirty="0" err="1" smtClean="0">
                <a:solidFill>
                  <a:schemeClr val="accent2"/>
                </a:solidFill>
              </a:rPr>
              <a:t>here</a:t>
            </a:r>
            <a:endParaRPr lang="en-US" sz="180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220" name="Isosceles Triangle 219"/>
          <p:cNvSpPr/>
          <p:nvPr>
            <p:custDataLst>
              <p:tags r:id="rId98"/>
            </p:custDataLst>
          </p:nvPr>
        </p:nvSpPr>
        <p:spPr bwMode="gray">
          <a:xfrm>
            <a:off x="6007100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Isosceles Triangle 220"/>
          <p:cNvSpPr/>
          <p:nvPr>
            <p:custDataLst>
              <p:tags r:id="rId99"/>
            </p:custDataLst>
          </p:nvPr>
        </p:nvSpPr>
        <p:spPr bwMode="gray">
          <a:xfrm>
            <a:off x="55356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Isosceles Triangle 221"/>
          <p:cNvSpPr/>
          <p:nvPr>
            <p:custDataLst>
              <p:tags r:id="rId100"/>
            </p:custDataLst>
          </p:nvPr>
        </p:nvSpPr>
        <p:spPr bwMode="gray">
          <a:xfrm>
            <a:off x="5065713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Isosceles Triangle 222"/>
          <p:cNvSpPr/>
          <p:nvPr>
            <p:custDataLst>
              <p:tags r:id="rId101"/>
            </p:custDataLst>
          </p:nvPr>
        </p:nvSpPr>
        <p:spPr bwMode="gray">
          <a:xfrm>
            <a:off x="4594225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Isosceles Triangle 223"/>
          <p:cNvSpPr/>
          <p:nvPr>
            <p:custDataLst>
              <p:tags r:id="rId102"/>
            </p:custDataLst>
          </p:nvPr>
        </p:nvSpPr>
        <p:spPr bwMode="gray">
          <a:xfrm>
            <a:off x="41227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5" name="Isosceles Triangle 224"/>
          <p:cNvSpPr/>
          <p:nvPr>
            <p:custDataLst>
              <p:tags r:id="rId103"/>
            </p:custDataLst>
          </p:nvPr>
        </p:nvSpPr>
        <p:spPr bwMode="gray">
          <a:xfrm>
            <a:off x="3652838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Isosceles Triangle 225"/>
          <p:cNvSpPr/>
          <p:nvPr>
            <p:custDataLst>
              <p:tags r:id="rId104"/>
            </p:custDataLst>
          </p:nvPr>
        </p:nvSpPr>
        <p:spPr bwMode="gray">
          <a:xfrm>
            <a:off x="318135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Isosceles Triangle 226"/>
          <p:cNvSpPr/>
          <p:nvPr>
            <p:custDataLst>
              <p:tags r:id="rId105"/>
            </p:custDataLst>
          </p:nvPr>
        </p:nvSpPr>
        <p:spPr bwMode="gray">
          <a:xfrm>
            <a:off x="6477000" y="5026025"/>
            <a:ext cx="146050" cy="127000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8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3495675" y="5645150"/>
            <a:ext cx="838200" cy="457200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echnika" panose="00000600000000000000" pitchFamily="50" charset="-18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606448-7404-4BAF-AAC8-748881C2F134}" type="datetime'16''''''. M''''''''''''''''''ar'''''''''''''' 201''''7'''''">
              <a:rPr lang="en-US" altLang="en-US" sz="1000"/>
              <a:pPr/>
              <a:t>16. Mar 2017</a:t>
            </a:fld>
            <a:endParaRPr lang="en-US" altLang="en-US" sz="1000" dirty="0" smtClean="0"/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Start of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+mn-lt"/>
                <a:sym typeface="+mn-lt"/>
              </a:rPr>
              <a:t>Development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97" name="Isosceles Triangle 196"/>
          <p:cNvSpPr/>
          <p:nvPr>
            <p:custDataLst>
              <p:tags r:id="rId107"/>
            </p:custDataLst>
          </p:nvPr>
        </p:nvSpPr>
        <p:spPr bwMode="gray">
          <a:xfrm>
            <a:off x="6948488" y="5026025"/>
            <a:ext cx="146050" cy="1270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29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063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echnika" panose="020B0604020202020204" charset="-18"/>
              <a:sym typeface="Technika" panose="020B0604020202020204" charset="-1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Today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need</a:t>
            </a:r>
            <a:r>
              <a:rPr lang="cs-CZ" dirty="0" smtClean="0"/>
              <a:t> to:</a:t>
            </a:r>
            <a:endParaRPr lang="cs-CZ" dirty="0"/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45561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olv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quest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45561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ould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k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mplement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ng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iginal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wo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endParaRPr lang="cs-CZ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tachment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R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sing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alysis</a:t>
            </a:r>
            <a:r>
              <a:rPr lang="cs-CZ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3343708" y="3614109"/>
            <a:ext cx="2460768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343708" y="4352773"/>
            <a:ext cx="2460768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blem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isen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ring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d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nslation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6223083" y="3614109"/>
            <a:ext cx="2460767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5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vise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sting</a:t>
            </a:r>
            <a:r>
              <a:rPr lang="cs-CZ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6223083" y="4352773"/>
            <a:ext cx="2460767" cy="165420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me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ule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test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bs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e </a:t>
            </a:r>
            <a:r>
              <a:rPr lang="cs-CZ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ready</a:t>
            </a:r>
            <a:r>
              <a:rPr lang="cs-CZ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place - </a:t>
            </a: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" name="Group 36"/>
          <p:cNvGrpSpPr>
            <a:grpSpLocks noChangeAspect="1"/>
          </p:cNvGrpSpPr>
          <p:nvPr/>
        </p:nvGrpSpPr>
        <p:grpSpPr bwMode="auto">
          <a:xfrm>
            <a:off x="4132428" y="2716527"/>
            <a:ext cx="883328" cy="763588"/>
            <a:chOff x="3514" y="1018"/>
            <a:chExt cx="2641" cy="2283"/>
          </a:xfrm>
          <a:solidFill>
            <a:srgbClr val="4472C4"/>
          </a:solidFill>
        </p:grpSpPr>
        <p:sp>
          <p:nvSpPr>
            <p:cNvPr id="29" name="Freeform 38"/>
            <p:cNvSpPr>
              <a:spLocks noEditPoints="1"/>
            </p:cNvSpPr>
            <p:nvPr/>
          </p:nvSpPr>
          <p:spPr bwMode="auto">
            <a:xfrm>
              <a:off x="3514" y="1018"/>
              <a:ext cx="2641" cy="2283"/>
            </a:xfrm>
            <a:custGeom>
              <a:avLst/>
              <a:gdLst>
                <a:gd name="T0" fmla="*/ 383 w 5282"/>
                <a:gd name="T1" fmla="*/ 3127 h 4566"/>
                <a:gd name="T2" fmla="*/ 4899 w 5282"/>
                <a:gd name="T3" fmla="*/ 384 h 4566"/>
                <a:gd name="T4" fmla="*/ 257 w 5282"/>
                <a:gd name="T5" fmla="*/ 0 h 4566"/>
                <a:gd name="T6" fmla="*/ 5072 w 5282"/>
                <a:gd name="T7" fmla="*/ 4 h 4566"/>
                <a:gd name="T8" fmla="*/ 5156 w 5282"/>
                <a:gd name="T9" fmla="*/ 36 h 4566"/>
                <a:gd name="T10" fmla="*/ 5221 w 5282"/>
                <a:gd name="T11" fmla="*/ 90 h 4566"/>
                <a:gd name="T12" fmla="*/ 5266 w 5282"/>
                <a:gd name="T13" fmla="*/ 168 h 4566"/>
                <a:gd name="T14" fmla="*/ 5282 w 5282"/>
                <a:gd name="T15" fmla="*/ 256 h 4566"/>
                <a:gd name="T16" fmla="*/ 5278 w 5282"/>
                <a:gd name="T17" fmla="*/ 3300 h 4566"/>
                <a:gd name="T18" fmla="*/ 5247 w 5282"/>
                <a:gd name="T19" fmla="*/ 3384 h 4566"/>
                <a:gd name="T20" fmla="*/ 5191 w 5282"/>
                <a:gd name="T21" fmla="*/ 3451 h 4566"/>
                <a:gd name="T22" fmla="*/ 5116 w 5282"/>
                <a:gd name="T23" fmla="*/ 3494 h 4566"/>
                <a:gd name="T24" fmla="*/ 5026 w 5282"/>
                <a:gd name="T25" fmla="*/ 3511 h 4566"/>
                <a:gd name="T26" fmla="*/ 3243 w 5282"/>
                <a:gd name="T27" fmla="*/ 4092 h 4566"/>
                <a:gd name="T28" fmla="*/ 3985 w 5282"/>
                <a:gd name="T29" fmla="*/ 4097 h 4566"/>
                <a:gd name="T30" fmla="*/ 4068 w 5282"/>
                <a:gd name="T31" fmla="*/ 4132 h 4566"/>
                <a:gd name="T32" fmla="*/ 4133 w 5282"/>
                <a:gd name="T33" fmla="*/ 4196 h 4566"/>
                <a:gd name="T34" fmla="*/ 4168 w 5282"/>
                <a:gd name="T35" fmla="*/ 4280 h 4566"/>
                <a:gd name="T36" fmla="*/ 4168 w 5282"/>
                <a:gd name="T37" fmla="*/ 4376 h 4566"/>
                <a:gd name="T38" fmla="*/ 4133 w 5282"/>
                <a:gd name="T39" fmla="*/ 4462 h 4566"/>
                <a:gd name="T40" fmla="*/ 4068 w 5282"/>
                <a:gd name="T41" fmla="*/ 4524 h 4566"/>
                <a:gd name="T42" fmla="*/ 3985 w 5282"/>
                <a:gd name="T43" fmla="*/ 4561 h 4566"/>
                <a:gd name="T44" fmla="*/ 1345 w 5282"/>
                <a:gd name="T45" fmla="*/ 4566 h 4566"/>
                <a:gd name="T46" fmla="*/ 1254 w 5282"/>
                <a:gd name="T47" fmla="*/ 4547 h 4566"/>
                <a:gd name="T48" fmla="*/ 1179 w 5282"/>
                <a:gd name="T49" fmla="*/ 4495 h 4566"/>
                <a:gd name="T50" fmla="*/ 1127 w 5282"/>
                <a:gd name="T51" fmla="*/ 4421 h 4566"/>
                <a:gd name="T52" fmla="*/ 1110 w 5282"/>
                <a:gd name="T53" fmla="*/ 4328 h 4566"/>
                <a:gd name="T54" fmla="*/ 1127 w 5282"/>
                <a:gd name="T55" fmla="*/ 4237 h 4566"/>
                <a:gd name="T56" fmla="*/ 1179 w 5282"/>
                <a:gd name="T57" fmla="*/ 4161 h 4566"/>
                <a:gd name="T58" fmla="*/ 1254 w 5282"/>
                <a:gd name="T59" fmla="*/ 4110 h 4566"/>
                <a:gd name="T60" fmla="*/ 1345 w 5282"/>
                <a:gd name="T61" fmla="*/ 4092 h 4566"/>
                <a:gd name="T62" fmla="*/ 2040 w 5282"/>
                <a:gd name="T63" fmla="*/ 3511 h 4566"/>
                <a:gd name="T64" fmla="*/ 210 w 5282"/>
                <a:gd name="T65" fmla="*/ 3507 h 4566"/>
                <a:gd name="T66" fmla="*/ 127 w 5282"/>
                <a:gd name="T67" fmla="*/ 3475 h 4566"/>
                <a:gd name="T68" fmla="*/ 61 w 5282"/>
                <a:gd name="T69" fmla="*/ 3419 h 4566"/>
                <a:gd name="T70" fmla="*/ 16 w 5282"/>
                <a:gd name="T71" fmla="*/ 3343 h 4566"/>
                <a:gd name="T72" fmla="*/ 0 w 5282"/>
                <a:gd name="T73" fmla="*/ 3255 h 4566"/>
                <a:gd name="T74" fmla="*/ 5 w 5282"/>
                <a:gd name="T75" fmla="*/ 211 h 4566"/>
                <a:gd name="T76" fmla="*/ 35 w 5282"/>
                <a:gd name="T77" fmla="*/ 127 h 4566"/>
                <a:gd name="T78" fmla="*/ 91 w 5282"/>
                <a:gd name="T79" fmla="*/ 60 h 4566"/>
                <a:gd name="T80" fmla="*/ 167 w 5282"/>
                <a:gd name="T81" fmla="*/ 17 h 4566"/>
                <a:gd name="T82" fmla="*/ 257 w 5282"/>
                <a:gd name="T83" fmla="*/ 0 h 4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82" h="4566">
                  <a:moveTo>
                    <a:pt x="383" y="384"/>
                  </a:moveTo>
                  <a:lnTo>
                    <a:pt x="383" y="3127"/>
                  </a:lnTo>
                  <a:lnTo>
                    <a:pt x="4899" y="3127"/>
                  </a:lnTo>
                  <a:lnTo>
                    <a:pt x="4899" y="384"/>
                  </a:lnTo>
                  <a:lnTo>
                    <a:pt x="383" y="384"/>
                  </a:lnTo>
                  <a:close/>
                  <a:moveTo>
                    <a:pt x="257" y="0"/>
                  </a:moveTo>
                  <a:lnTo>
                    <a:pt x="5026" y="0"/>
                  </a:lnTo>
                  <a:lnTo>
                    <a:pt x="5072" y="4"/>
                  </a:lnTo>
                  <a:lnTo>
                    <a:pt x="5116" y="17"/>
                  </a:lnTo>
                  <a:lnTo>
                    <a:pt x="5156" y="36"/>
                  </a:lnTo>
                  <a:lnTo>
                    <a:pt x="5191" y="60"/>
                  </a:lnTo>
                  <a:lnTo>
                    <a:pt x="5221" y="90"/>
                  </a:lnTo>
                  <a:lnTo>
                    <a:pt x="5247" y="127"/>
                  </a:lnTo>
                  <a:lnTo>
                    <a:pt x="5266" y="168"/>
                  </a:lnTo>
                  <a:lnTo>
                    <a:pt x="5278" y="211"/>
                  </a:lnTo>
                  <a:lnTo>
                    <a:pt x="5282" y="256"/>
                  </a:lnTo>
                  <a:lnTo>
                    <a:pt x="5282" y="3255"/>
                  </a:lnTo>
                  <a:lnTo>
                    <a:pt x="5278" y="3300"/>
                  </a:lnTo>
                  <a:lnTo>
                    <a:pt x="5266" y="3343"/>
                  </a:lnTo>
                  <a:lnTo>
                    <a:pt x="5247" y="3384"/>
                  </a:lnTo>
                  <a:lnTo>
                    <a:pt x="5221" y="3419"/>
                  </a:lnTo>
                  <a:lnTo>
                    <a:pt x="5191" y="3451"/>
                  </a:lnTo>
                  <a:lnTo>
                    <a:pt x="5156" y="3475"/>
                  </a:lnTo>
                  <a:lnTo>
                    <a:pt x="5116" y="3494"/>
                  </a:lnTo>
                  <a:lnTo>
                    <a:pt x="5072" y="3507"/>
                  </a:lnTo>
                  <a:lnTo>
                    <a:pt x="5026" y="3511"/>
                  </a:lnTo>
                  <a:lnTo>
                    <a:pt x="3243" y="3511"/>
                  </a:lnTo>
                  <a:lnTo>
                    <a:pt x="3243" y="4092"/>
                  </a:lnTo>
                  <a:lnTo>
                    <a:pt x="3937" y="4092"/>
                  </a:lnTo>
                  <a:lnTo>
                    <a:pt x="3985" y="4097"/>
                  </a:lnTo>
                  <a:lnTo>
                    <a:pt x="4028" y="4110"/>
                  </a:lnTo>
                  <a:lnTo>
                    <a:pt x="4068" y="4132"/>
                  </a:lnTo>
                  <a:lnTo>
                    <a:pt x="4104" y="4161"/>
                  </a:lnTo>
                  <a:lnTo>
                    <a:pt x="4133" y="4196"/>
                  </a:lnTo>
                  <a:lnTo>
                    <a:pt x="4155" y="4237"/>
                  </a:lnTo>
                  <a:lnTo>
                    <a:pt x="4168" y="4280"/>
                  </a:lnTo>
                  <a:lnTo>
                    <a:pt x="4173" y="4328"/>
                  </a:lnTo>
                  <a:lnTo>
                    <a:pt x="4168" y="4376"/>
                  </a:lnTo>
                  <a:lnTo>
                    <a:pt x="4155" y="4421"/>
                  </a:lnTo>
                  <a:lnTo>
                    <a:pt x="4133" y="4462"/>
                  </a:lnTo>
                  <a:lnTo>
                    <a:pt x="4104" y="4495"/>
                  </a:lnTo>
                  <a:lnTo>
                    <a:pt x="4068" y="4524"/>
                  </a:lnTo>
                  <a:lnTo>
                    <a:pt x="4028" y="4547"/>
                  </a:lnTo>
                  <a:lnTo>
                    <a:pt x="3985" y="4561"/>
                  </a:lnTo>
                  <a:lnTo>
                    <a:pt x="3937" y="4566"/>
                  </a:lnTo>
                  <a:lnTo>
                    <a:pt x="1345" y="4566"/>
                  </a:lnTo>
                  <a:lnTo>
                    <a:pt x="1297" y="4561"/>
                  </a:lnTo>
                  <a:lnTo>
                    <a:pt x="1254" y="4547"/>
                  </a:lnTo>
                  <a:lnTo>
                    <a:pt x="1214" y="4524"/>
                  </a:lnTo>
                  <a:lnTo>
                    <a:pt x="1179" y="4495"/>
                  </a:lnTo>
                  <a:lnTo>
                    <a:pt x="1150" y="4462"/>
                  </a:lnTo>
                  <a:lnTo>
                    <a:pt x="1127" y="4421"/>
                  </a:lnTo>
                  <a:lnTo>
                    <a:pt x="1115" y="4376"/>
                  </a:lnTo>
                  <a:lnTo>
                    <a:pt x="1110" y="4328"/>
                  </a:lnTo>
                  <a:lnTo>
                    <a:pt x="1115" y="4280"/>
                  </a:lnTo>
                  <a:lnTo>
                    <a:pt x="1127" y="4237"/>
                  </a:lnTo>
                  <a:lnTo>
                    <a:pt x="1150" y="4196"/>
                  </a:lnTo>
                  <a:lnTo>
                    <a:pt x="1179" y="4161"/>
                  </a:lnTo>
                  <a:lnTo>
                    <a:pt x="1214" y="4132"/>
                  </a:lnTo>
                  <a:lnTo>
                    <a:pt x="1254" y="4110"/>
                  </a:lnTo>
                  <a:lnTo>
                    <a:pt x="1297" y="4097"/>
                  </a:lnTo>
                  <a:lnTo>
                    <a:pt x="1345" y="4092"/>
                  </a:lnTo>
                  <a:lnTo>
                    <a:pt x="2040" y="4092"/>
                  </a:lnTo>
                  <a:lnTo>
                    <a:pt x="2040" y="3511"/>
                  </a:lnTo>
                  <a:lnTo>
                    <a:pt x="257" y="3511"/>
                  </a:lnTo>
                  <a:lnTo>
                    <a:pt x="210" y="3507"/>
                  </a:lnTo>
                  <a:lnTo>
                    <a:pt x="167" y="3494"/>
                  </a:lnTo>
                  <a:lnTo>
                    <a:pt x="127" y="3475"/>
                  </a:lnTo>
                  <a:lnTo>
                    <a:pt x="91" y="3451"/>
                  </a:lnTo>
                  <a:lnTo>
                    <a:pt x="61" y="3419"/>
                  </a:lnTo>
                  <a:lnTo>
                    <a:pt x="35" y="3384"/>
                  </a:lnTo>
                  <a:lnTo>
                    <a:pt x="16" y="3343"/>
                  </a:lnTo>
                  <a:lnTo>
                    <a:pt x="5" y="3300"/>
                  </a:lnTo>
                  <a:lnTo>
                    <a:pt x="0" y="3255"/>
                  </a:lnTo>
                  <a:lnTo>
                    <a:pt x="0" y="256"/>
                  </a:lnTo>
                  <a:lnTo>
                    <a:pt x="5" y="211"/>
                  </a:lnTo>
                  <a:lnTo>
                    <a:pt x="16" y="168"/>
                  </a:lnTo>
                  <a:lnTo>
                    <a:pt x="35" y="127"/>
                  </a:lnTo>
                  <a:lnTo>
                    <a:pt x="61" y="90"/>
                  </a:lnTo>
                  <a:lnTo>
                    <a:pt x="91" y="60"/>
                  </a:lnTo>
                  <a:lnTo>
                    <a:pt x="127" y="36"/>
                  </a:lnTo>
                  <a:lnTo>
                    <a:pt x="167" y="17"/>
                  </a:lnTo>
                  <a:lnTo>
                    <a:pt x="210" y="4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0" name="Freeform 39"/>
            <p:cNvSpPr>
              <a:spLocks/>
            </p:cNvSpPr>
            <p:nvPr/>
          </p:nvSpPr>
          <p:spPr bwMode="auto">
            <a:xfrm>
              <a:off x="4074" y="1625"/>
              <a:ext cx="560" cy="539"/>
            </a:xfrm>
            <a:custGeom>
              <a:avLst/>
              <a:gdLst>
                <a:gd name="T0" fmla="*/ 964 w 1121"/>
                <a:gd name="T1" fmla="*/ 0 h 1078"/>
                <a:gd name="T2" fmla="*/ 993 w 1121"/>
                <a:gd name="T3" fmla="*/ 4 h 1078"/>
                <a:gd name="T4" fmla="*/ 1022 w 1121"/>
                <a:gd name="T5" fmla="*/ 12 h 1078"/>
                <a:gd name="T6" fmla="*/ 1048 w 1121"/>
                <a:gd name="T7" fmla="*/ 26 h 1078"/>
                <a:gd name="T8" fmla="*/ 1073 w 1121"/>
                <a:gd name="T9" fmla="*/ 45 h 1078"/>
                <a:gd name="T10" fmla="*/ 1094 w 1121"/>
                <a:gd name="T11" fmla="*/ 69 h 1078"/>
                <a:gd name="T12" fmla="*/ 1108 w 1121"/>
                <a:gd name="T13" fmla="*/ 97 h 1078"/>
                <a:gd name="T14" fmla="*/ 1118 w 1121"/>
                <a:gd name="T15" fmla="*/ 126 h 1078"/>
                <a:gd name="T16" fmla="*/ 1121 w 1121"/>
                <a:gd name="T17" fmla="*/ 158 h 1078"/>
                <a:gd name="T18" fmla="*/ 1121 w 1121"/>
                <a:gd name="T19" fmla="*/ 161 h 1078"/>
                <a:gd name="T20" fmla="*/ 1116 w 1121"/>
                <a:gd name="T21" fmla="*/ 198 h 1078"/>
                <a:gd name="T22" fmla="*/ 1105 w 1121"/>
                <a:gd name="T23" fmla="*/ 230 h 1078"/>
                <a:gd name="T24" fmla="*/ 1086 w 1121"/>
                <a:gd name="T25" fmla="*/ 261 h 1078"/>
                <a:gd name="T26" fmla="*/ 1060 w 1121"/>
                <a:gd name="T27" fmla="*/ 285 h 1078"/>
                <a:gd name="T28" fmla="*/ 1030 w 1121"/>
                <a:gd name="T29" fmla="*/ 304 h 1078"/>
                <a:gd name="T30" fmla="*/ 525 w 1121"/>
                <a:gd name="T31" fmla="*/ 538 h 1078"/>
                <a:gd name="T32" fmla="*/ 1030 w 1121"/>
                <a:gd name="T33" fmla="*/ 775 h 1078"/>
                <a:gd name="T34" fmla="*/ 1060 w 1121"/>
                <a:gd name="T35" fmla="*/ 792 h 1078"/>
                <a:gd name="T36" fmla="*/ 1086 w 1121"/>
                <a:gd name="T37" fmla="*/ 818 h 1078"/>
                <a:gd name="T38" fmla="*/ 1105 w 1121"/>
                <a:gd name="T39" fmla="*/ 847 h 1078"/>
                <a:gd name="T40" fmla="*/ 1116 w 1121"/>
                <a:gd name="T41" fmla="*/ 881 h 1078"/>
                <a:gd name="T42" fmla="*/ 1121 w 1121"/>
                <a:gd name="T43" fmla="*/ 916 h 1078"/>
                <a:gd name="T44" fmla="*/ 1121 w 1121"/>
                <a:gd name="T45" fmla="*/ 921 h 1078"/>
                <a:gd name="T46" fmla="*/ 1118 w 1121"/>
                <a:gd name="T47" fmla="*/ 953 h 1078"/>
                <a:gd name="T48" fmla="*/ 1108 w 1121"/>
                <a:gd name="T49" fmla="*/ 982 h 1078"/>
                <a:gd name="T50" fmla="*/ 1094 w 1121"/>
                <a:gd name="T51" fmla="*/ 1009 h 1078"/>
                <a:gd name="T52" fmla="*/ 1073 w 1121"/>
                <a:gd name="T53" fmla="*/ 1033 h 1078"/>
                <a:gd name="T54" fmla="*/ 1048 w 1121"/>
                <a:gd name="T55" fmla="*/ 1053 h 1078"/>
                <a:gd name="T56" fmla="*/ 1022 w 1121"/>
                <a:gd name="T57" fmla="*/ 1067 h 1078"/>
                <a:gd name="T58" fmla="*/ 993 w 1121"/>
                <a:gd name="T59" fmla="*/ 1075 h 1078"/>
                <a:gd name="T60" fmla="*/ 964 w 1121"/>
                <a:gd name="T61" fmla="*/ 1078 h 1078"/>
                <a:gd name="T62" fmla="*/ 930 w 1121"/>
                <a:gd name="T63" fmla="*/ 1073 h 1078"/>
                <a:gd name="T64" fmla="*/ 898 w 1121"/>
                <a:gd name="T65" fmla="*/ 1064 h 1078"/>
                <a:gd name="T66" fmla="*/ 90 w 1121"/>
                <a:gd name="T67" fmla="*/ 688 h 1078"/>
                <a:gd name="T68" fmla="*/ 60 w 1121"/>
                <a:gd name="T69" fmla="*/ 669 h 1078"/>
                <a:gd name="T70" fmla="*/ 36 w 1121"/>
                <a:gd name="T71" fmla="*/ 643 h 1078"/>
                <a:gd name="T72" fmla="*/ 16 w 1121"/>
                <a:gd name="T73" fmla="*/ 614 h 1078"/>
                <a:gd name="T74" fmla="*/ 4 w 1121"/>
                <a:gd name="T75" fmla="*/ 580 h 1078"/>
                <a:gd name="T76" fmla="*/ 0 w 1121"/>
                <a:gd name="T77" fmla="*/ 545 h 1078"/>
                <a:gd name="T78" fmla="*/ 0 w 1121"/>
                <a:gd name="T79" fmla="*/ 534 h 1078"/>
                <a:gd name="T80" fmla="*/ 4 w 1121"/>
                <a:gd name="T81" fmla="*/ 498 h 1078"/>
                <a:gd name="T82" fmla="*/ 16 w 1121"/>
                <a:gd name="T83" fmla="*/ 465 h 1078"/>
                <a:gd name="T84" fmla="*/ 36 w 1121"/>
                <a:gd name="T85" fmla="*/ 434 h 1078"/>
                <a:gd name="T86" fmla="*/ 60 w 1121"/>
                <a:gd name="T87" fmla="*/ 410 h 1078"/>
                <a:gd name="T88" fmla="*/ 90 w 1121"/>
                <a:gd name="T89" fmla="*/ 391 h 1078"/>
                <a:gd name="T90" fmla="*/ 898 w 1121"/>
                <a:gd name="T91" fmla="*/ 15 h 1078"/>
                <a:gd name="T92" fmla="*/ 930 w 1121"/>
                <a:gd name="T93" fmla="*/ 5 h 1078"/>
                <a:gd name="T94" fmla="*/ 964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964" y="0"/>
                  </a:moveTo>
                  <a:lnTo>
                    <a:pt x="993" y="4"/>
                  </a:lnTo>
                  <a:lnTo>
                    <a:pt x="1022" y="12"/>
                  </a:lnTo>
                  <a:lnTo>
                    <a:pt x="1048" y="26"/>
                  </a:lnTo>
                  <a:lnTo>
                    <a:pt x="1073" y="45"/>
                  </a:lnTo>
                  <a:lnTo>
                    <a:pt x="1094" y="69"/>
                  </a:lnTo>
                  <a:lnTo>
                    <a:pt x="1108" y="97"/>
                  </a:lnTo>
                  <a:lnTo>
                    <a:pt x="1118" y="126"/>
                  </a:lnTo>
                  <a:lnTo>
                    <a:pt x="1121" y="158"/>
                  </a:lnTo>
                  <a:lnTo>
                    <a:pt x="1121" y="161"/>
                  </a:lnTo>
                  <a:lnTo>
                    <a:pt x="1116" y="198"/>
                  </a:lnTo>
                  <a:lnTo>
                    <a:pt x="1105" y="230"/>
                  </a:lnTo>
                  <a:lnTo>
                    <a:pt x="1086" y="261"/>
                  </a:lnTo>
                  <a:lnTo>
                    <a:pt x="1060" y="285"/>
                  </a:lnTo>
                  <a:lnTo>
                    <a:pt x="1030" y="304"/>
                  </a:lnTo>
                  <a:lnTo>
                    <a:pt x="525" y="538"/>
                  </a:lnTo>
                  <a:lnTo>
                    <a:pt x="1030" y="775"/>
                  </a:lnTo>
                  <a:lnTo>
                    <a:pt x="1060" y="792"/>
                  </a:lnTo>
                  <a:lnTo>
                    <a:pt x="1086" y="818"/>
                  </a:lnTo>
                  <a:lnTo>
                    <a:pt x="1105" y="847"/>
                  </a:lnTo>
                  <a:lnTo>
                    <a:pt x="1116" y="881"/>
                  </a:lnTo>
                  <a:lnTo>
                    <a:pt x="1121" y="916"/>
                  </a:lnTo>
                  <a:lnTo>
                    <a:pt x="1121" y="921"/>
                  </a:lnTo>
                  <a:lnTo>
                    <a:pt x="1118" y="953"/>
                  </a:lnTo>
                  <a:lnTo>
                    <a:pt x="1108" y="982"/>
                  </a:lnTo>
                  <a:lnTo>
                    <a:pt x="1094" y="1009"/>
                  </a:lnTo>
                  <a:lnTo>
                    <a:pt x="1073" y="1033"/>
                  </a:lnTo>
                  <a:lnTo>
                    <a:pt x="1048" y="1053"/>
                  </a:lnTo>
                  <a:lnTo>
                    <a:pt x="1022" y="1067"/>
                  </a:lnTo>
                  <a:lnTo>
                    <a:pt x="993" y="1075"/>
                  </a:lnTo>
                  <a:lnTo>
                    <a:pt x="964" y="1078"/>
                  </a:lnTo>
                  <a:lnTo>
                    <a:pt x="930" y="1073"/>
                  </a:lnTo>
                  <a:lnTo>
                    <a:pt x="898" y="1064"/>
                  </a:lnTo>
                  <a:lnTo>
                    <a:pt x="90" y="688"/>
                  </a:lnTo>
                  <a:lnTo>
                    <a:pt x="60" y="669"/>
                  </a:lnTo>
                  <a:lnTo>
                    <a:pt x="36" y="643"/>
                  </a:lnTo>
                  <a:lnTo>
                    <a:pt x="16" y="614"/>
                  </a:lnTo>
                  <a:lnTo>
                    <a:pt x="4" y="580"/>
                  </a:lnTo>
                  <a:lnTo>
                    <a:pt x="0" y="545"/>
                  </a:lnTo>
                  <a:lnTo>
                    <a:pt x="0" y="534"/>
                  </a:lnTo>
                  <a:lnTo>
                    <a:pt x="4" y="498"/>
                  </a:lnTo>
                  <a:lnTo>
                    <a:pt x="16" y="465"/>
                  </a:lnTo>
                  <a:lnTo>
                    <a:pt x="36" y="434"/>
                  </a:lnTo>
                  <a:lnTo>
                    <a:pt x="60" y="410"/>
                  </a:lnTo>
                  <a:lnTo>
                    <a:pt x="90" y="391"/>
                  </a:lnTo>
                  <a:lnTo>
                    <a:pt x="898" y="15"/>
                  </a:lnTo>
                  <a:lnTo>
                    <a:pt x="930" y="5"/>
                  </a:lnTo>
                  <a:lnTo>
                    <a:pt x="964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1" name="Freeform 40"/>
            <p:cNvSpPr>
              <a:spLocks/>
            </p:cNvSpPr>
            <p:nvPr/>
          </p:nvSpPr>
          <p:spPr bwMode="auto">
            <a:xfrm>
              <a:off x="4623" y="1401"/>
              <a:ext cx="423" cy="982"/>
            </a:xfrm>
            <a:custGeom>
              <a:avLst/>
              <a:gdLst>
                <a:gd name="T0" fmla="*/ 686 w 847"/>
                <a:gd name="T1" fmla="*/ 0 h 1963"/>
                <a:gd name="T2" fmla="*/ 691 w 847"/>
                <a:gd name="T3" fmla="*/ 0 h 1963"/>
                <a:gd name="T4" fmla="*/ 728 w 847"/>
                <a:gd name="T5" fmla="*/ 3 h 1963"/>
                <a:gd name="T6" fmla="*/ 762 w 847"/>
                <a:gd name="T7" fmla="*/ 16 h 1963"/>
                <a:gd name="T8" fmla="*/ 792 w 847"/>
                <a:gd name="T9" fmla="*/ 37 h 1963"/>
                <a:gd name="T10" fmla="*/ 818 w 847"/>
                <a:gd name="T11" fmla="*/ 64 h 1963"/>
                <a:gd name="T12" fmla="*/ 835 w 847"/>
                <a:gd name="T13" fmla="*/ 96 h 1963"/>
                <a:gd name="T14" fmla="*/ 845 w 847"/>
                <a:gd name="T15" fmla="*/ 131 h 1963"/>
                <a:gd name="T16" fmla="*/ 847 w 847"/>
                <a:gd name="T17" fmla="*/ 168 h 1963"/>
                <a:gd name="T18" fmla="*/ 840 w 847"/>
                <a:gd name="T19" fmla="*/ 204 h 1963"/>
                <a:gd name="T20" fmla="*/ 309 w 847"/>
                <a:gd name="T21" fmla="*/ 1854 h 1963"/>
                <a:gd name="T22" fmla="*/ 295 w 847"/>
                <a:gd name="T23" fmla="*/ 1884 h 1963"/>
                <a:gd name="T24" fmla="*/ 276 w 847"/>
                <a:gd name="T25" fmla="*/ 1911 h 1963"/>
                <a:gd name="T26" fmla="*/ 252 w 847"/>
                <a:gd name="T27" fmla="*/ 1934 h 1963"/>
                <a:gd name="T28" fmla="*/ 224 w 847"/>
                <a:gd name="T29" fmla="*/ 1950 h 1963"/>
                <a:gd name="T30" fmla="*/ 192 w 847"/>
                <a:gd name="T31" fmla="*/ 1960 h 1963"/>
                <a:gd name="T32" fmla="*/ 160 w 847"/>
                <a:gd name="T33" fmla="*/ 1963 h 1963"/>
                <a:gd name="T34" fmla="*/ 155 w 847"/>
                <a:gd name="T35" fmla="*/ 1963 h 1963"/>
                <a:gd name="T36" fmla="*/ 118 w 847"/>
                <a:gd name="T37" fmla="*/ 1960 h 1963"/>
                <a:gd name="T38" fmla="*/ 85 w 847"/>
                <a:gd name="T39" fmla="*/ 1947 h 1963"/>
                <a:gd name="T40" fmla="*/ 54 w 847"/>
                <a:gd name="T41" fmla="*/ 1926 h 1963"/>
                <a:gd name="T42" fmla="*/ 29 w 847"/>
                <a:gd name="T43" fmla="*/ 1899 h 1963"/>
                <a:gd name="T44" fmla="*/ 11 w 847"/>
                <a:gd name="T45" fmla="*/ 1866 h 1963"/>
                <a:gd name="T46" fmla="*/ 1 w 847"/>
                <a:gd name="T47" fmla="*/ 1831 h 1963"/>
                <a:gd name="T48" fmla="*/ 0 w 847"/>
                <a:gd name="T49" fmla="*/ 1794 h 1963"/>
                <a:gd name="T50" fmla="*/ 6 w 847"/>
                <a:gd name="T51" fmla="*/ 1759 h 1963"/>
                <a:gd name="T52" fmla="*/ 537 w 847"/>
                <a:gd name="T53" fmla="*/ 109 h 1963"/>
                <a:gd name="T54" fmla="*/ 551 w 847"/>
                <a:gd name="T55" fmla="*/ 77 h 1963"/>
                <a:gd name="T56" fmla="*/ 571 w 847"/>
                <a:gd name="T57" fmla="*/ 51 h 1963"/>
                <a:gd name="T58" fmla="*/ 595 w 847"/>
                <a:gd name="T59" fmla="*/ 29 h 1963"/>
                <a:gd name="T60" fmla="*/ 622 w 847"/>
                <a:gd name="T61" fmla="*/ 13 h 1963"/>
                <a:gd name="T62" fmla="*/ 654 w 847"/>
                <a:gd name="T63" fmla="*/ 3 h 1963"/>
                <a:gd name="T64" fmla="*/ 686 w 847"/>
                <a:gd name="T65" fmla="*/ 0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7" h="1963">
                  <a:moveTo>
                    <a:pt x="686" y="0"/>
                  </a:moveTo>
                  <a:lnTo>
                    <a:pt x="691" y="0"/>
                  </a:lnTo>
                  <a:lnTo>
                    <a:pt x="728" y="3"/>
                  </a:lnTo>
                  <a:lnTo>
                    <a:pt x="762" y="16"/>
                  </a:lnTo>
                  <a:lnTo>
                    <a:pt x="792" y="37"/>
                  </a:lnTo>
                  <a:lnTo>
                    <a:pt x="818" y="64"/>
                  </a:lnTo>
                  <a:lnTo>
                    <a:pt x="835" y="96"/>
                  </a:lnTo>
                  <a:lnTo>
                    <a:pt x="845" y="131"/>
                  </a:lnTo>
                  <a:lnTo>
                    <a:pt x="847" y="168"/>
                  </a:lnTo>
                  <a:lnTo>
                    <a:pt x="840" y="204"/>
                  </a:lnTo>
                  <a:lnTo>
                    <a:pt x="309" y="1854"/>
                  </a:lnTo>
                  <a:lnTo>
                    <a:pt x="295" y="1884"/>
                  </a:lnTo>
                  <a:lnTo>
                    <a:pt x="276" y="1911"/>
                  </a:lnTo>
                  <a:lnTo>
                    <a:pt x="252" y="1934"/>
                  </a:lnTo>
                  <a:lnTo>
                    <a:pt x="224" y="1950"/>
                  </a:lnTo>
                  <a:lnTo>
                    <a:pt x="192" y="1960"/>
                  </a:lnTo>
                  <a:lnTo>
                    <a:pt x="160" y="1963"/>
                  </a:lnTo>
                  <a:lnTo>
                    <a:pt x="155" y="1963"/>
                  </a:lnTo>
                  <a:lnTo>
                    <a:pt x="118" y="1960"/>
                  </a:lnTo>
                  <a:lnTo>
                    <a:pt x="85" y="1947"/>
                  </a:lnTo>
                  <a:lnTo>
                    <a:pt x="54" y="1926"/>
                  </a:lnTo>
                  <a:lnTo>
                    <a:pt x="29" y="1899"/>
                  </a:lnTo>
                  <a:lnTo>
                    <a:pt x="11" y="1866"/>
                  </a:lnTo>
                  <a:lnTo>
                    <a:pt x="1" y="1831"/>
                  </a:lnTo>
                  <a:lnTo>
                    <a:pt x="0" y="1794"/>
                  </a:lnTo>
                  <a:lnTo>
                    <a:pt x="6" y="1759"/>
                  </a:lnTo>
                  <a:lnTo>
                    <a:pt x="537" y="109"/>
                  </a:lnTo>
                  <a:lnTo>
                    <a:pt x="551" y="77"/>
                  </a:lnTo>
                  <a:lnTo>
                    <a:pt x="571" y="51"/>
                  </a:lnTo>
                  <a:lnTo>
                    <a:pt x="595" y="29"/>
                  </a:lnTo>
                  <a:lnTo>
                    <a:pt x="622" y="13"/>
                  </a:lnTo>
                  <a:lnTo>
                    <a:pt x="654" y="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5035" y="1625"/>
              <a:ext cx="561" cy="539"/>
            </a:xfrm>
            <a:custGeom>
              <a:avLst/>
              <a:gdLst>
                <a:gd name="T0" fmla="*/ 157 w 1121"/>
                <a:gd name="T1" fmla="*/ 0 h 1078"/>
                <a:gd name="T2" fmla="*/ 191 w 1121"/>
                <a:gd name="T3" fmla="*/ 5 h 1078"/>
                <a:gd name="T4" fmla="*/ 223 w 1121"/>
                <a:gd name="T5" fmla="*/ 15 h 1078"/>
                <a:gd name="T6" fmla="*/ 1031 w 1121"/>
                <a:gd name="T7" fmla="*/ 391 h 1078"/>
                <a:gd name="T8" fmla="*/ 1062 w 1121"/>
                <a:gd name="T9" fmla="*/ 410 h 1078"/>
                <a:gd name="T10" fmla="*/ 1086 w 1121"/>
                <a:gd name="T11" fmla="*/ 434 h 1078"/>
                <a:gd name="T12" fmla="*/ 1105 w 1121"/>
                <a:gd name="T13" fmla="*/ 465 h 1078"/>
                <a:gd name="T14" fmla="*/ 1118 w 1121"/>
                <a:gd name="T15" fmla="*/ 498 h 1078"/>
                <a:gd name="T16" fmla="*/ 1121 w 1121"/>
                <a:gd name="T17" fmla="*/ 534 h 1078"/>
                <a:gd name="T18" fmla="*/ 1121 w 1121"/>
                <a:gd name="T19" fmla="*/ 545 h 1078"/>
                <a:gd name="T20" fmla="*/ 1118 w 1121"/>
                <a:gd name="T21" fmla="*/ 580 h 1078"/>
                <a:gd name="T22" fmla="*/ 1105 w 1121"/>
                <a:gd name="T23" fmla="*/ 614 h 1078"/>
                <a:gd name="T24" fmla="*/ 1086 w 1121"/>
                <a:gd name="T25" fmla="*/ 643 h 1078"/>
                <a:gd name="T26" fmla="*/ 1062 w 1121"/>
                <a:gd name="T27" fmla="*/ 669 h 1078"/>
                <a:gd name="T28" fmla="*/ 1031 w 1121"/>
                <a:gd name="T29" fmla="*/ 688 h 1078"/>
                <a:gd name="T30" fmla="*/ 223 w 1121"/>
                <a:gd name="T31" fmla="*/ 1064 h 1078"/>
                <a:gd name="T32" fmla="*/ 191 w 1121"/>
                <a:gd name="T33" fmla="*/ 1073 h 1078"/>
                <a:gd name="T34" fmla="*/ 157 w 1121"/>
                <a:gd name="T35" fmla="*/ 1078 h 1078"/>
                <a:gd name="T36" fmla="*/ 128 w 1121"/>
                <a:gd name="T37" fmla="*/ 1075 h 1078"/>
                <a:gd name="T38" fmla="*/ 100 w 1121"/>
                <a:gd name="T39" fmla="*/ 1067 h 1078"/>
                <a:gd name="T40" fmla="*/ 74 w 1121"/>
                <a:gd name="T41" fmla="*/ 1053 h 1078"/>
                <a:gd name="T42" fmla="*/ 48 w 1121"/>
                <a:gd name="T43" fmla="*/ 1033 h 1078"/>
                <a:gd name="T44" fmla="*/ 27 w 1121"/>
                <a:gd name="T45" fmla="*/ 1009 h 1078"/>
                <a:gd name="T46" fmla="*/ 13 w 1121"/>
                <a:gd name="T47" fmla="*/ 982 h 1078"/>
                <a:gd name="T48" fmla="*/ 3 w 1121"/>
                <a:gd name="T49" fmla="*/ 953 h 1078"/>
                <a:gd name="T50" fmla="*/ 0 w 1121"/>
                <a:gd name="T51" fmla="*/ 921 h 1078"/>
                <a:gd name="T52" fmla="*/ 0 w 1121"/>
                <a:gd name="T53" fmla="*/ 916 h 1078"/>
                <a:gd name="T54" fmla="*/ 5 w 1121"/>
                <a:gd name="T55" fmla="*/ 881 h 1078"/>
                <a:gd name="T56" fmla="*/ 16 w 1121"/>
                <a:gd name="T57" fmla="*/ 847 h 1078"/>
                <a:gd name="T58" fmla="*/ 35 w 1121"/>
                <a:gd name="T59" fmla="*/ 818 h 1078"/>
                <a:gd name="T60" fmla="*/ 61 w 1121"/>
                <a:gd name="T61" fmla="*/ 792 h 1078"/>
                <a:gd name="T62" fmla="*/ 92 w 1121"/>
                <a:gd name="T63" fmla="*/ 775 h 1078"/>
                <a:gd name="T64" fmla="*/ 597 w 1121"/>
                <a:gd name="T65" fmla="*/ 538 h 1078"/>
                <a:gd name="T66" fmla="*/ 92 w 1121"/>
                <a:gd name="T67" fmla="*/ 304 h 1078"/>
                <a:gd name="T68" fmla="*/ 61 w 1121"/>
                <a:gd name="T69" fmla="*/ 285 h 1078"/>
                <a:gd name="T70" fmla="*/ 35 w 1121"/>
                <a:gd name="T71" fmla="*/ 261 h 1078"/>
                <a:gd name="T72" fmla="*/ 16 w 1121"/>
                <a:gd name="T73" fmla="*/ 230 h 1078"/>
                <a:gd name="T74" fmla="*/ 5 w 1121"/>
                <a:gd name="T75" fmla="*/ 198 h 1078"/>
                <a:gd name="T76" fmla="*/ 0 w 1121"/>
                <a:gd name="T77" fmla="*/ 161 h 1078"/>
                <a:gd name="T78" fmla="*/ 0 w 1121"/>
                <a:gd name="T79" fmla="*/ 158 h 1078"/>
                <a:gd name="T80" fmla="*/ 3 w 1121"/>
                <a:gd name="T81" fmla="*/ 126 h 1078"/>
                <a:gd name="T82" fmla="*/ 13 w 1121"/>
                <a:gd name="T83" fmla="*/ 97 h 1078"/>
                <a:gd name="T84" fmla="*/ 27 w 1121"/>
                <a:gd name="T85" fmla="*/ 69 h 1078"/>
                <a:gd name="T86" fmla="*/ 48 w 1121"/>
                <a:gd name="T87" fmla="*/ 45 h 1078"/>
                <a:gd name="T88" fmla="*/ 74 w 1121"/>
                <a:gd name="T89" fmla="*/ 24 h 1078"/>
                <a:gd name="T90" fmla="*/ 100 w 1121"/>
                <a:gd name="T91" fmla="*/ 12 h 1078"/>
                <a:gd name="T92" fmla="*/ 128 w 1121"/>
                <a:gd name="T93" fmla="*/ 4 h 1078"/>
                <a:gd name="T94" fmla="*/ 157 w 1121"/>
                <a:gd name="T95" fmla="*/ 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21" h="1078">
                  <a:moveTo>
                    <a:pt x="157" y="0"/>
                  </a:moveTo>
                  <a:lnTo>
                    <a:pt x="191" y="5"/>
                  </a:lnTo>
                  <a:lnTo>
                    <a:pt x="223" y="15"/>
                  </a:lnTo>
                  <a:lnTo>
                    <a:pt x="1031" y="391"/>
                  </a:lnTo>
                  <a:lnTo>
                    <a:pt x="1062" y="410"/>
                  </a:lnTo>
                  <a:lnTo>
                    <a:pt x="1086" y="434"/>
                  </a:lnTo>
                  <a:lnTo>
                    <a:pt x="1105" y="465"/>
                  </a:lnTo>
                  <a:lnTo>
                    <a:pt x="1118" y="498"/>
                  </a:lnTo>
                  <a:lnTo>
                    <a:pt x="1121" y="534"/>
                  </a:lnTo>
                  <a:lnTo>
                    <a:pt x="1121" y="545"/>
                  </a:lnTo>
                  <a:lnTo>
                    <a:pt x="1118" y="580"/>
                  </a:lnTo>
                  <a:lnTo>
                    <a:pt x="1105" y="614"/>
                  </a:lnTo>
                  <a:lnTo>
                    <a:pt x="1086" y="643"/>
                  </a:lnTo>
                  <a:lnTo>
                    <a:pt x="1062" y="669"/>
                  </a:lnTo>
                  <a:lnTo>
                    <a:pt x="1031" y="688"/>
                  </a:lnTo>
                  <a:lnTo>
                    <a:pt x="223" y="1064"/>
                  </a:lnTo>
                  <a:lnTo>
                    <a:pt x="191" y="1073"/>
                  </a:lnTo>
                  <a:lnTo>
                    <a:pt x="157" y="1078"/>
                  </a:lnTo>
                  <a:lnTo>
                    <a:pt x="128" y="1075"/>
                  </a:lnTo>
                  <a:lnTo>
                    <a:pt x="100" y="1067"/>
                  </a:lnTo>
                  <a:lnTo>
                    <a:pt x="74" y="1053"/>
                  </a:lnTo>
                  <a:lnTo>
                    <a:pt x="48" y="1033"/>
                  </a:lnTo>
                  <a:lnTo>
                    <a:pt x="27" y="1009"/>
                  </a:lnTo>
                  <a:lnTo>
                    <a:pt x="13" y="982"/>
                  </a:lnTo>
                  <a:lnTo>
                    <a:pt x="3" y="953"/>
                  </a:lnTo>
                  <a:lnTo>
                    <a:pt x="0" y="921"/>
                  </a:lnTo>
                  <a:lnTo>
                    <a:pt x="0" y="916"/>
                  </a:lnTo>
                  <a:lnTo>
                    <a:pt x="5" y="881"/>
                  </a:lnTo>
                  <a:lnTo>
                    <a:pt x="16" y="847"/>
                  </a:lnTo>
                  <a:lnTo>
                    <a:pt x="35" y="818"/>
                  </a:lnTo>
                  <a:lnTo>
                    <a:pt x="61" y="792"/>
                  </a:lnTo>
                  <a:lnTo>
                    <a:pt x="92" y="775"/>
                  </a:lnTo>
                  <a:lnTo>
                    <a:pt x="597" y="538"/>
                  </a:lnTo>
                  <a:lnTo>
                    <a:pt x="92" y="304"/>
                  </a:lnTo>
                  <a:lnTo>
                    <a:pt x="61" y="285"/>
                  </a:lnTo>
                  <a:lnTo>
                    <a:pt x="35" y="261"/>
                  </a:lnTo>
                  <a:lnTo>
                    <a:pt x="16" y="230"/>
                  </a:lnTo>
                  <a:lnTo>
                    <a:pt x="5" y="198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3" y="126"/>
                  </a:lnTo>
                  <a:lnTo>
                    <a:pt x="13" y="97"/>
                  </a:lnTo>
                  <a:lnTo>
                    <a:pt x="27" y="69"/>
                  </a:lnTo>
                  <a:lnTo>
                    <a:pt x="48" y="45"/>
                  </a:lnTo>
                  <a:lnTo>
                    <a:pt x="74" y="24"/>
                  </a:lnTo>
                  <a:lnTo>
                    <a:pt x="100" y="12"/>
                  </a:lnTo>
                  <a:lnTo>
                    <a:pt x="12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4472C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33" name="Group 44"/>
          <p:cNvGrpSpPr>
            <a:grpSpLocks noChangeAspect="1"/>
          </p:cNvGrpSpPr>
          <p:nvPr/>
        </p:nvGrpSpPr>
        <p:grpSpPr bwMode="auto">
          <a:xfrm>
            <a:off x="1346969" y="2665835"/>
            <a:ext cx="678054" cy="848116"/>
            <a:chOff x="2724" y="1968"/>
            <a:chExt cx="307" cy="384"/>
          </a:xfrm>
          <a:solidFill>
            <a:srgbClr val="4472C4"/>
          </a:solidFill>
        </p:grpSpPr>
        <p:sp>
          <p:nvSpPr>
            <p:cNvPr id="34" name="Freeform 46"/>
            <p:cNvSpPr>
              <a:spLocks/>
            </p:cNvSpPr>
            <p:nvPr/>
          </p:nvSpPr>
          <p:spPr bwMode="auto">
            <a:xfrm>
              <a:off x="2807" y="2128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2 h 115"/>
                <a:gd name="T8" fmla="*/ 1545 w 1555"/>
                <a:gd name="T9" fmla="*/ 24 h 115"/>
                <a:gd name="T10" fmla="*/ 1553 w 1555"/>
                <a:gd name="T11" fmla="*/ 40 h 115"/>
                <a:gd name="T12" fmla="*/ 1555 w 1555"/>
                <a:gd name="T13" fmla="*/ 58 h 115"/>
                <a:gd name="T14" fmla="*/ 1553 w 1555"/>
                <a:gd name="T15" fmla="*/ 75 h 115"/>
                <a:gd name="T16" fmla="*/ 1545 w 1555"/>
                <a:gd name="T17" fmla="*/ 92 h 115"/>
                <a:gd name="T18" fmla="*/ 1532 w 1555"/>
                <a:gd name="T19" fmla="*/ 104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4 h 115"/>
                <a:gd name="T30" fmla="*/ 11 w 1555"/>
                <a:gd name="T31" fmla="*/ 92 h 115"/>
                <a:gd name="T32" fmla="*/ 3 w 1555"/>
                <a:gd name="T33" fmla="*/ 75 h 115"/>
                <a:gd name="T34" fmla="*/ 0 w 1555"/>
                <a:gd name="T35" fmla="*/ 58 h 115"/>
                <a:gd name="T36" fmla="*/ 3 w 1555"/>
                <a:gd name="T37" fmla="*/ 40 h 115"/>
                <a:gd name="T38" fmla="*/ 11 w 1555"/>
                <a:gd name="T39" fmla="*/ 24 h 115"/>
                <a:gd name="T40" fmla="*/ 24 w 1555"/>
                <a:gd name="T41" fmla="*/ 12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5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5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7"/>
            <p:cNvSpPr>
              <a:spLocks/>
            </p:cNvSpPr>
            <p:nvPr/>
          </p:nvSpPr>
          <p:spPr bwMode="auto">
            <a:xfrm>
              <a:off x="2807" y="2077"/>
              <a:ext cx="77" cy="13"/>
            </a:xfrm>
            <a:custGeom>
              <a:avLst/>
              <a:gdLst>
                <a:gd name="T0" fmla="*/ 57 w 691"/>
                <a:gd name="T1" fmla="*/ 0 h 115"/>
                <a:gd name="T2" fmla="*/ 633 w 691"/>
                <a:gd name="T3" fmla="*/ 0 h 115"/>
                <a:gd name="T4" fmla="*/ 652 w 691"/>
                <a:gd name="T5" fmla="*/ 3 h 115"/>
                <a:gd name="T6" fmla="*/ 668 w 691"/>
                <a:gd name="T7" fmla="*/ 12 h 115"/>
                <a:gd name="T8" fmla="*/ 681 w 691"/>
                <a:gd name="T9" fmla="*/ 24 h 115"/>
                <a:gd name="T10" fmla="*/ 689 w 691"/>
                <a:gd name="T11" fmla="*/ 40 h 115"/>
                <a:gd name="T12" fmla="*/ 691 w 691"/>
                <a:gd name="T13" fmla="*/ 58 h 115"/>
                <a:gd name="T14" fmla="*/ 689 w 691"/>
                <a:gd name="T15" fmla="*/ 76 h 115"/>
                <a:gd name="T16" fmla="*/ 681 w 691"/>
                <a:gd name="T17" fmla="*/ 91 h 115"/>
                <a:gd name="T18" fmla="*/ 668 w 691"/>
                <a:gd name="T19" fmla="*/ 104 h 115"/>
                <a:gd name="T20" fmla="*/ 652 w 691"/>
                <a:gd name="T21" fmla="*/ 112 h 115"/>
                <a:gd name="T22" fmla="*/ 633 w 691"/>
                <a:gd name="T23" fmla="*/ 115 h 115"/>
                <a:gd name="T24" fmla="*/ 57 w 691"/>
                <a:gd name="T25" fmla="*/ 115 h 115"/>
                <a:gd name="T26" fmla="*/ 40 w 691"/>
                <a:gd name="T27" fmla="*/ 112 h 115"/>
                <a:gd name="T28" fmla="*/ 24 w 691"/>
                <a:gd name="T29" fmla="*/ 104 h 115"/>
                <a:gd name="T30" fmla="*/ 11 w 691"/>
                <a:gd name="T31" fmla="*/ 91 h 115"/>
                <a:gd name="T32" fmla="*/ 3 w 691"/>
                <a:gd name="T33" fmla="*/ 76 h 115"/>
                <a:gd name="T34" fmla="*/ 0 w 691"/>
                <a:gd name="T35" fmla="*/ 58 h 115"/>
                <a:gd name="T36" fmla="*/ 3 w 691"/>
                <a:gd name="T37" fmla="*/ 40 h 115"/>
                <a:gd name="T38" fmla="*/ 11 w 691"/>
                <a:gd name="T39" fmla="*/ 24 h 115"/>
                <a:gd name="T40" fmla="*/ 24 w 691"/>
                <a:gd name="T41" fmla="*/ 12 h 115"/>
                <a:gd name="T42" fmla="*/ 40 w 691"/>
                <a:gd name="T43" fmla="*/ 3 h 115"/>
                <a:gd name="T44" fmla="*/ 57 w 691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1" h="115">
                  <a:moveTo>
                    <a:pt x="57" y="0"/>
                  </a:moveTo>
                  <a:lnTo>
                    <a:pt x="633" y="0"/>
                  </a:lnTo>
                  <a:lnTo>
                    <a:pt x="652" y="3"/>
                  </a:lnTo>
                  <a:lnTo>
                    <a:pt x="668" y="12"/>
                  </a:lnTo>
                  <a:lnTo>
                    <a:pt x="681" y="24"/>
                  </a:lnTo>
                  <a:lnTo>
                    <a:pt x="689" y="40"/>
                  </a:lnTo>
                  <a:lnTo>
                    <a:pt x="691" y="58"/>
                  </a:lnTo>
                  <a:lnTo>
                    <a:pt x="689" y="76"/>
                  </a:lnTo>
                  <a:lnTo>
                    <a:pt x="681" y="91"/>
                  </a:lnTo>
                  <a:lnTo>
                    <a:pt x="668" y="104"/>
                  </a:lnTo>
                  <a:lnTo>
                    <a:pt x="652" y="112"/>
                  </a:lnTo>
                  <a:lnTo>
                    <a:pt x="633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1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8"/>
            <p:cNvSpPr>
              <a:spLocks/>
            </p:cNvSpPr>
            <p:nvPr/>
          </p:nvSpPr>
          <p:spPr bwMode="auto">
            <a:xfrm>
              <a:off x="2807" y="2179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3 h 115"/>
                <a:gd name="T10" fmla="*/ 1553 w 1555"/>
                <a:gd name="T11" fmla="*/ 40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40 h 115"/>
                <a:gd name="T38" fmla="*/ 11 w 1555"/>
                <a:gd name="T39" fmla="*/ 23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3"/>
                  </a:lnTo>
                  <a:lnTo>
                    <a:pt x="1553" y="40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9"/>
            <p:cNvSpPr>
              <a:spLocks/>
            </p:cNvSpPr>
            <p:nvPr/>
          </p:nvSpPr>
          <p:spPr bwMode="auto">
            <a:xfrm>
              <a:off x="2807" y="2230"/>
              <a:ext cx="173" cy="13"/>
            </a:xfrm>
            <a:custGeom>
              <a:avLst/>
              <a:gdLst>
                <a:gd name="T0" fmla="*/ 57 w 1555"/>
                <a:gd name="T1" fmla="*/ 0 h 115"/>
                <a:gd name="T2" fmla="*/ 1498 w 1555"/>
                <a:gd name="T3" fmla="*/ 0 h 115"/>
                <a:gd name="T4" fmla="*/ 1516 w 1555"/>
                <a:gd name="T5" fmla="*/ 3 h 115"/>
                <a:gd name="T6" fmla="*/ 1532 w 1555"/>
                <a:gd name="T7" fmla="*/ 11 h 115"/>
                <a:gd name="T8" fmla="*/ 1545 w 1555"/>
                <a:gd name="T9" fmla="*/ 24 h 115"/>
                <a:gd name="T10" fmla="*/ 1553 w 1555"/>
                <a:gd name="T11" fmla="*/ 39 h 115"/>
                <a:gd name="T12" fmla="*/ 1555 w 1555"/>
                <a:gd name="T13" fmla="*/ 57 h 115"/>
                <a:gd name="T14" fmla="*/ 1553 w 1555"/>
                <a:gd name="T15" fmla="*/ 75 h 115"/>
                <a:gd name="T16" fmla="*/ 1545 w 1555"/>
                <a:gd name="T17" fmla="*/ 91 h 115"/>
                <a:gd name="T18" fmla="*/ 1532 w 1555"/>
                <a:gd name="T19" fmla="*/ 103 h 115"/>
                <a:gd name="T20" fmla="*/ 1516 w 1555"/>
                <a:gd name="T21" fmla="*/ 112 h 115"/>
                <a:gd name="T22" fmla="*/ 1498 w 1555"/>
                <a:gd name="T23" fmla="*/ 115 h 115"/>
                <a:gd name="T24" fmla="*/ 57 w 1555"/>
                <a:gd name="T25" fmla="*/ 115 h 115"/>
                <a:gd name="T26" fmla="*/ 40 w 1555"/>
                <a:gd name="T27" fmla="*/ 112 h 115"/>
                <a:gd name="T28" fmla="*/ 24 w 1555"/>
                <a:gd name="T29" fmla="*/ 103 h 115"/>
                <a:gd name="T30" fmla="*/ 11 w 1555"/>
                <a:gd name="T31" fmla="*/ 91 h 115"/>
                <a:gd name="T32" fmla="*/ 3 w 1555"/>
                <a:gd name="T33" fmla="*/ 75 h 115"/>
                <a:gd name="T34" fmla="*/ 0 w 1555"/>
                <a:gd name="T35" fmla="*/ 57 h 115"/>
                <a:gd name="T36" fmla="*/ 3 w 1555"/>
                <a:gd name="T37" fmla="*/ 39 h 115"/>
                <a:gd name="T38" fmla="*/ 11 w 1555"/>
                <a:gd name="T39" fmla="*/ 24 h 115"/>
                <a:gd name="T40" fmla="*/ 24 w 1555"/>
                <a:gd name="T41" fmla="*/ 11 h 115"/>
                <a:gd name="T42" fmla="*/ 40 w 1555"/>
                <a:gd name="T43" fmla="*/ 3 h 115"/>
                <a:gd name="T44" fmla="*/ 57 w 1555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5">
                  <a:moveTo>
                    <a:pt x="57" y="0"/>
                  </a:moveTo>
                  <a:lnTo>
                    <a:pt x="1498" y="0"/>
                  </a:lnTo>
                  <a:lnTo>
                    <a:pt x="1516" y="3"/>
                  </a:lnTo>
                  <a:lnTo>
                    <a:pt x="1532" y="11"/>
                  </a:lnTo>
                  <a:lnTo>
                    <a:pt x="1545" y="24"/>
                  </a:lnTo>
                  <a:lnTo>
                    <a:pt x="1553" y="39"/>
                  </a:lnTo>
                  <a:lnTo>
                    <a:pt x="1555" y="57"/>
                  </a:lnTo>
                  <a:lnTo>
                    <a:pt x="1553" y="75"/>
                  </a:lnTo>
                  <a:lnTo>
                    <a:pt x="1545" y="91"/>
                  </a:lnTo>
                  <a:lnTo>
                    <a:pt x="1532" y="103"/>
                  </a:lnTo>
                  <a:lnTo>
                    <a:pt x="1516" y="112"/>
                  </a:lnTo>
                  <a:lnTo>
                    <a:pt x="1498" y="115"/>
                  </a:lnTo>
                  <a:lnTo>
                    <a:pt x="57" y="115"/>
                  </a:lnTo>
                  <a:lnTo>
                    <a:pt x="40" y="112"/>
                  </a:lnTo>
                  <a:lnTo>
                    <a:pt x="24" y="103"/>
                  </a:lnTo>
                  <a:lnTo>
                    <a:pt x="11" y="91"/>
                  </a:lnTo>
                  <a:lnTo>
                    <a:pt x="3" y="75"/>
                  </a:lnTo>
                  <a:lnTo>
                    <a:pt x="0" y="57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50"/>
            <p:cNvSpPr>
              <a:spLocks/>
            </p:cNvSpPr>
            <p:nvPr/>
          </p:nvSpPr>
          <p:spPr bwMode="auto">
            <a:xfrm>
              <a:off x="2807" y="2282"/>
              <a:ext cx="173" cy="12"/>
            </a:xfrm>
            <a:custGeom>
              <a:avLst/>
              <a:gdLst>
                <a:gd name="T0" fmla="*/ 57 w 1555"/>
                <a:gd name="T1" fmla="*/ 0 h 116"/>
                <a:gd name="T2" fmla="*/ 1498 w 1555"/>
                <a:gd name="T3" fmla="*/ 0 h 116"/>
                <a:gd name="T4" fmla="*/ 1516 w 1555"/>
                <a:gd name="T5" fmla="*/ 4 h 116"/>
                <a:gd name="T6" fmla="*/ 1532 w 1555"/>
                <a:gd name="T7" fmla="*/ 12 h 116"/>
                <a:gd name="T8" fmla="*/ 1545 w 1555"/>
                <a:gd name="T9" fmla="*/ 24 h 116"/>
                <a:gd name="T10" fmla="*/ 1553 w 1555"/>
                <a:gd name="T11" fmla="*/ 40 h 116"/>
                <a:gd name="T12" fmla="*/ 1555 w 1555"/>
                <a:gd name="T13" fmla="*/ 58 h 116"/>
                <a:gd name="T14" fmla="*/ 1553 w 1555"/>
                <a:gd name="T15" fmla="*/ 76 h 116"/>
                <a:gd name="T16" fmla="*/ 1545 w 1555"/>
                <a:gd name="T17" fmla="*/ 92 h 116"/>
                <a:gd name="T18" fmla="*/ 1532 w 1555"/>
                <a:gd name="T19" fmla="*/ 104 h 116"/>
                <a:gd name="T20" fmla="*/ 1516 w 1555"/>
                <a:gd name="T21" fmla="*/ 112 h 116"/>
                <a:gd name="T22" fmla="*/ 1498 w 1555"/>
                <a:gd name="T23" fmla="*/ 116 h 116"/>
                <a:gd name="T24" fmla="*/ 57 w 1555"/>
                <a:gd name="T25" fmla="*/ 116 h 116"/>
                <a:gd name="T26" fmla="*/ 40 w 1555"/>
                <a:gd name="T27" fmla="*/ 112 h 116"/>
                <a:gd name="T28" fmla="*/ 24 w 1555"/>
                <a:gd name="T29" fmla="*/ 104 h 116"/>
                <a:gd name="T30" fmla="*/ 11 w 1555"/>
                <a:gd name="T31" fmla="*/ 92 h 116"/>
                <a:gd name="T32" fmla="*/ 3 w 1555"/>
                <a:gd name="T33" fmla="*/ 76 h 116"/>
                <a:gd name="T34" fmla="*/ 0 w 1555"/>
                <a:gd name="T35" fmla="*/ 58 h 116"/>
                <a:gd name="T36" fmla="*/ 3 w 1555"/>
                <a:gd name="T37" fmla="*/ 40 h 116"/>
                <a:gd name="T38" fmla="*/ 11 w 1555"/>
                <a:gd name="T39" fmla="*/ 24 h 116"/>
                <a:gd name="T40" fmla="*/ 24 w 1555"/>
                <a:gd name="T41" fmla="*/ 12 h 116"/>
                <a:gd name="T42" fmla="*/ 40 w 1555"/>
                <a:gd name="T43" fmla="*/ 4 h 116"/>
                <a:gd name="T44" fmla="*/ 57 w 1555"/>
                <a:gd name="T45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5" h="116">
                  <a:moveTo>
                    <a:pt x="57" y="0"/>
                  </a:moveTo>
                  <a:lnTo>
                    <a:pt x="1498" y="0"/>
                  </a:lnTo>
                  <a:lnTo>
                    <a:pt x="1516" y="4"/>
                  </a:lnTo>
                  <a:lnTo>
                    <a:pt x="1532" y="12"/>
                  </a:lnTo>
                  <a:lnTo>
                    <a:pt x="1545" y="24"/>
                  </a:lnTo>
                  <a:lnTo>
                    <a:pt x="1553" y="40"/>
                  </a:lnTo>
                  <a:lnTo>
                    <a:pt x="1555" y="58"/>
                  </a:lnTo>
                  <a:lnTo>
                    <a:pt x="1553" y="76"/>
                  </a:lnTo>
                  <a:lnTo>
                    <a:pt x="1545" y="92"/>
                  </a:lnTo>
                  <a:lnTo>
                    <a:pt x="1532" y="104"/>
                  </a:lnTo>
                  <a:lnTo>
                    <a:pt x="1516" y="112"/>
                  </a:lnTo>
                  <a:lnTo>
                    <a:pt x="1498" y="116"/>
                  </a:lnTo>
                  <a:lnTo>
                    <a:pt x="57" y="116"/>
                  </a:lnTo>
                  <a:lnTo>
                    <a:pt x="40" y="112"/>
                  </a:lnTo>
                  <a:lnTo>
                    <a:pt x="24" y="104"/>
                  </a:lnTo>
                  <a:lnTo>
                    <a:pt x="11" y="92"/>
                  </a:lnTo>
                  <a:lnTo>
                    <a:pt x="3" y="76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1" y="24"/>
                  </a:lnTo>
                  <a:lnTo>
                    <a:pt x="24" y="12"/>
                  </a:lnTo>
                  <a:lnTo>
                    <a:pt x="40" y="4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1"/>
            <p:cNvSpPr>
              <a:spLocks noEditPoints="1"/>
            </p:cNvSpPr>
            <p:nvPr/>
          </p:nvSpPr>
          <p:spPr bwMode="auto">
            <a:xfrm>
              <a:off x="2724" y="1968"/>
              <a:ext cx="307" cy="384"/>
            </a:xfrm>
            <a:custGeom>
              <a:avLst/>
              <a:gdLst>
                <a:gd name="T0" fmla="*/ 1959 w 2765"/>
                <a:gd name="T1" fmla="*/ 485 h 3456"/>
                <a:gd name="T2" fmla="*/ 1959 w 2765"/>
                <a:gd name="T3" fmla="*/ 1094 h 3456"/>
                <a:gd name="T4" fmla="*/ 2569 w 2765"/>
                <a:gd name="T5" fmla="*/ 1094 h 3456"/>
                <a:gd name="T6" fmla="*/ 1959 w 2765"/>
                <a:gd name="T7" fmla="*/ 485 h 3456"/>
                <a:gd name="T8" fmla="*/ 404 w 2765"/>
                <a:gd name="T9" fmla="*/ 403 h 3456"/>
                <a:gd name="T10" fmla="*/ 404 w 2765"/>
                <a:gd name="T11" fmla="*/ 3341 h 3456"/>
                <a:gd name="T12" fmla="*/ 2650 w 2765"/>
                <a:gd name="T13" fmla="*/ 3341 h 3456"/>
                <a:gd name="T14" fmla="*/ 2650 w 2765"/>
                <a:gd name="T15" fmla="*/ 1210 h 3456"/>
                <a:gd name="T16" fmla="*/ 1844 w 2765"/>
                <a:gd name="T17" fmla="*/ 1210 h 3456"/>
                <a:gd name="T18" fmla="*/ 1844 w 2765"/>
                <a:gd name="T19" fmla="*/ 403 h 3456"/>
                <a:gd name="T20" fmla="*/ 404 w 2765"/>
                <a:gd name="T21" fmla="*/ 403 h 3456"/>
                <a:gd name="T22" fmla="*/ 116 w 2765"/>
                <a:gd name="T23" fmla="*/ 115 h 3456"/>
                <a:gd name="T24" fmla="*/ 116 w 2765"/>
                <a:gd name="T25" fmla="*/ 3053 h 3456"/>
                <a:gd name="T26" fmla="*/ 288 w 2765"/>
                <a:gd name="T27" fmla="*/ 3053 h 3456"/>
                <a:gd name="T28" fmla="*/ 288 w 2765"/>
                <a:gd name="T29" fmla="*/ 288 h 3456"/>
                <a:gd name="T30" fmla="*/ 1925 w 2765"/>
                <a:gd name="T31" fmla="*/ 288 h 3456"/>
                <a:gd name="T32" fmla="*/ 2362 w 2765"/>
                <a:gd name="T33" fmla="*/ 725 h 3456"/>
                <a:gd name="T34" fmla="*/ 2362 w 2765"/>
                <a:gd name="T35" fmla="*/ 115 h 3456"/>
                <a:gd name="T36" fmla="*/ 116 w 2765"/>
                <a:gd name="T37" fmla="*/ 115 h 3456"/>
                <a:gd name="T38" fmla="*/ 0 w 2765"/>
                <a:gd name="T39" fmla="*/ 0 h 3456"/>
                <a:gd name="T40" fmla="*/ 2477 w 2765"/>
                <a:gd name="T41" fmla="*/ 0 h 3456"/>
                <a:gd name="T42" fmla="*/ 2477 w 2765"/>
                <a:gd name="T43" fmla="*/ 840 h 3456"/>
                <a:gd name="T44" fmla="*/ 2765 w 2765"/>
                <a:gd name="T45" fmla="*/ 1128 h 3456"/>
                <a:gd name="T46" fmla="*/ 2765 w 2765"/>
                <a:gd name="T47" fmla="*/ 3456 h 3456"/>
                <a:gd name="T48" fmla="*/ 288 w 2765"/>
                <a:gd name="T49" fmla="*/ 3456 h 3456"/>
                <a:gd name="T50" fmla="*/ 288 w 2765"/>
                <a:gd name="T51" fmla="*/ 3168 h 3456"/>
                <a:gd name="T52" fmla="*/ 0 w 2765"/>
                <a:gd name="T53" fmla="*/ 3168 h 3456"/>
                <a:gd name="T54" fmla="*/ 0 w 2765"/>
                <a:gd name="T55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5" h="3456">
                  <a:moveTo>
                    <a:pt x="1959" y="485"/>
                  </a:moveTo>
                  <a:lnTo>
                    <a:pt x="1959" y="1094"/>
                  </a:lnTo>
                  <a:lnTo>
                    <a:pt x="2569" y="1094"/>
                  </a:lnTo>
                  <a:lnTo>
                    <a:pt x="1959" y="485"/>
                  </a:lnTo>
                  <a:close/>
                  <a:moveTo>
                    <a:pt x="404" y="403"/>
                  </a:moveTo>
                  <a:lnTo>
                    <a:pt x="404" y="3341"/>
                  </a:lnTo>
                  <a:lnTo>
                    <a:pt x="2650" y="3341"/>
                  </a:lnTo>
                  <a:lnTo>
                    <a:pt x="2650" y="1210"/>
                  </a:lnTo>
                  <a:lnTo>
                    <a:pt x="1844" y="1210"/>
                  </a:lnTo>
                  <a:lnTo>
                    <a:pt x="1844" y="403"/>
                  </a:lnTo>
                  <a:lnTo>
                    <a:pt x="404" y="403"/>
                  </a:lnTo>
                  <a:close/>
                  <a:moveTo>
                    <a:pt x="116" y="115"/>
                  </a:moveTo>
                  <a:lnTo>
                    <a:pt x="116" y="3053"/>
                  </a:lnTo>
                  <a:lnTo>
                    <a:pt x="288" y="3053"/>
                  </a:lnTo>
                  <a:lnTo>
                    <a:pt x="288" y="288"/>
                  </a:lnTo>
                  <a:lnTo>
                    <a:pt x="1925" y="288"/>
                  </a:lnTo>
                  <a:lnTo>
                    <a:pt x="2362" y="725"/>
                  </a:lnTo>
                  <a:lnTo>
                    <a:pt x="2362" y="115"/>
                  </a:lnTo>
                  <a:lnTo>
                    <a:pt x="116" y="115"/>
                  </a:lnTo>
                  <a:close/>
                  <a:moveTo>
                    <a:pt x="0" y="0"/>
                  </a:moveTo>
                  <a:lnTo>
                    <a:pt x="2477" y="0"/>
                  </a:lnTo>
                  <a:lnTo>
                    <a:pt x="2477" y="840"/>
                  </a:lnTo>
                  <a:lnTo>
                    <a:pt x="2765" y="1128"/>
                  </a:lnTo>
                  <a:lnTo>
                    <a:pt x="2765" y="3456"/>
                  </a:lnTo>
                  <a:lnTo>
                    <a:pt x="288" y="3456"/>
                  </a:lnTo>
                  <a:lnTo>
                    <a:pt x="288" y="3168"/>
                  </a:lnTo>
                  <a:lnTo>
                    <a:pt x="0" y="3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 bwMode="auto">
          <a:xfrm>
            <a:off x="7051329" y="2644797"/>
            <a:ext cx="804274" cy="861290"/>
            <a:chOff x="1586" y="519"/>
            <a:chExt cx="3061" cy="3278"/>
          </a:xfrm>
          <a:solidFill>
            <a:schemeClr val="accent5"/>
          </a:solidFill>
        </p:grpSpPr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3445" y="2485"/>
              <a:ext cx="437" cy="110"/>
            </a:xfrm>
            <a:custGeom>
              <a:avLst/>
              <a:gdLst>
                <a:gd name="T0" fmla="*/ 110 w 876"/>
                <a:gd name="T1" fmla="*/ 0 h 219"/>
                <a:gd name="T2" fmla="*/ 766 w 876"/>
                <a:gd name="T3" fmla="*/ 0 h 219"/>
                <a:gd name="T4" fmla="*/ 800 w 876"/>
                <a:gd name="T5" fmla="*/ 6 h 219"/>
                <a:gd name="T6" fmla="*/ 830 w 876"/>
                <a:gd name="T7" fmla="*/ 22 h 219"/>
                <a:gd name="T8" fmla="*/ 854 w 876"/>
                <a:gd name="T9" fmla="*/ 46 h 219"/>
                <a:gd name="T10" fmla="*/ 870 w 876"/>
                <a:gd name="T11" fmla="*/ 76 h 219"/>
                <a:gd name="T12" fmla="*/ 876 w 876"/>
                <a:gd name="T13" fmla="*/ 109 h 219"/>
                <a:gd name="T14" fmla="*/ 870 w 876"/>
                <a:gd name="T15" fmla="*/ 145 h 219"/>
                <a:gd name="T16" fmla="*/ 854 w 876"/>
                <a:gd name="T17" fmla="*/ 175 h 219"/>
                <a:gd name="T18" fmla="*/ 830 w 876"/>
                <a:gd name="T19" fmla="*/ 199 h 219"/>
                <a:gd name="T20" fmla="*/ 800 w 876"/>
                <a:gd name="T21" fmla="*/ 213 h 219"/>
                <a:gd name="T22" fmla="*/ 766 w 876"/>
                <a:gd name="T23" fmla="*/ 219 h 219"/>
                <a:gd name="T24" fmla="*/ 110 w 876"/>
                <a:gd name="T25" fmla="*/ 219 h 219"/>
                <a:gd name="T26" fmla="*/ 76 w 876"/>
                <a:gd name="T27" fmla="*/ 213 h 219"/>
                <a:gd name="T28" fmla="*/ 44 w 876"/>
                <a:gd name="T29" fmla="*/ 199 h 219"/>
                <a:gd name="T30" fmla="*/ 22 w 876"/>
                <a:gd name="T31" fmla="*/ 175 h 219"/>
                <a:gd name="T32" fmla="*/ 6 w 876"/>
                <a:gd name="T33" fmla="*/ 145 h 219"/>
                <a:gd name="T34" fmla="*/ 0 w 876"/>
                <a:gd name="T35" fmla="*/ 109 h 219"/>
                <a:gd name="T36" fmla="*/ 6 w 876"/>
                <a:gd name="T37" fmla="*/ 76 h 219"/>
                <a:gd name="T38" fmla="*/ 22 w 876"/>
                <a:gd name="T39" fmla="*/ 46 h 219"/>
                <a:gd name="T40" fmla="*/ 44 w 876"/>
                <a:gd name="T41" fmla="*/ 22 h 219"/>
                <a:gd name="T42" fmla="*/ 76 w 876"/>
                <a:gd name="T43" fmla="*/ 6 h 219"/>
                <a:gd name="T44" fmla="*/ 110 w 876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6" h="219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2"/>
                  </a:lnTo>
                  <a:lnTo>
                    <a:pt x="854" y="46"/>
                  </a:lnTo>
                  <a:lnTo>
                    <a:pt x="870" y="76"/>
                  </a:lnTo>
                  <a:lnTo>
                    <a:pt x="876" y="109"/>
                  </a:lnTo>
                  <a:lnTo>
                    <a:pt x="870" y="145"/>
                  </a:lnTo>
                  <a:lnTo>
                    <a:pt x="854" y="175"/>
                  </a:lnTo>
                  <a:lnTo>
                    <a:pt x="830" y="199"/>
                  </a:lnTo>
                  <a:lnTo>
                    <a:pt x="800" y="213"/>
                  </a:lnTo>
                  <a:lnTo>
                    <a:pt x="766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3554" y="792"/>
              <a:ext cx="875" cy="1693"/>
            </a:xfrm>
            <a:custGeom>
              <a:avLst/>
              <a:gdLst>
                <a:gd name="T0" fmla="*/ 108 w 1749"/>
                <a:gd name="T1" fmla="*/ 0 h 3387"/>
                <a:gd name="T2" fmla="*/ 144 w 1749"/>
                <a:gd name="T3" fmla="*/ 6 h 3387"/>
                <a:gd name="T4" fmla="*/ 174 w 1749"/>
                <a:gd name="T5" fmla="*/ 22 h 3387"/>
                <a:gd name="T6" fmla="*/ 198 w 1749"/>
                <a:gd name="T7" fmla="*/ 46 h 3387"/>
                <a:gd name="T8" fmla="*/ 212 w 1749"/>
                <a:gd name="T9" fmla="*/ 76 h 3387"/>
                <a:gd name="T10" fmla="*/ 218 w 1749"/>
                <a:gd name="T11" fmla="*/ 110 h 3387"/>
                <a:gd name="T12" fmla="*/ 218 w 1749"/>
                <a:gd name="T13" fmla="*/ 656 h 3387"/>
                <a:gd name="T14" fmla="*/ 224 w 1749"/>
                <a:gd name="T15" fmla="*/ 716 h 3387"/>
                <a:gd name="T16" fmla="*/ 240 w 1749"/>
                <a:gd name="T17" fmla="*/ 770 h 3387"/>
                <a:gd name="T18" fmla="*/ 264 w 1749"/>
                <a:gd name="T19" fmla="*/ 821 h 3387"/>
                <a:gd name="T20" fmla="*/ 296 w 1749"/>
                <a:gd name="T21" fmla="*/ 867 h 3387"/>
                <a:gd name="T22" fmla="*/ 335 w 1749"/>
                <a:gd name="T23" fmla="*/ 907 h 3387"/>
                <a:gd name="T24" fmla="*/ 381 w 1749"/>
                <a:gd name="T25" fmla="*/ 939 h 3387"/>
                <a:gd name="T26" fmla="*/ 431 w 1749"/>
                <a:gd name="T27" fmla="*/ 963 h 3387"/>
                <a:gd name="T28" fmla="*/ 487 w 1749"/>
                <a:gd name="T29" fmla="*/ 979 h 3387"/>
                <a:gd name="T30" fmla="*/ 547 w 1749"/>
                <a:gd name="T31" fmla="*/ 985 h 3387"/>
                <a:gd name="T32" fmla="*/ 1640 w 1749"/>
                <a:gd name="T33" fmla="*/ 985 h 3387"/>
                <a:gd name="T34" fmla="*/ 1674 w 1749"/>
                <a:gd name="T35" fmla="*/ 989 h 3387"/>
                <a:gd name="T36" fmla="*/ 1703 w 1749"/>
                <a:gd name="T37" fmla="*/ 1005 h 3387"/>
                <a:gd name="T38" fmla="*/ 1727 w 1749"/>
                <a:gd name="T39" fmla="*/ 1029 h 3387"/>
                <a:gd name="T40" fmla="*/ 1743 w 1749"/>
                <a:gd name="T41" fmla="*/ 1059 h 3387"/>
                <a:gd name="T42" fmla="*/ 1749 w 1749"/>
                <a:gd name="T43" fmla="*/ 1092 h 3387"/>
                <a:gd name="T44" fmla="*/ 1749 w 1749"/>
                <a:gd name="T45" fmla="*/ 3279 h 3387"/>
                <a:gd name="T46" fmla="*/ 1743 w 1749"/>
                <a:gd name="T47" fmla="*/ 3313 h 3387"/>
                <a:gd name="T48" fmla="*/ 1727 w 1749"/>
                <a:gd name="T49" fmla="*/ 3343 h 3387"/>
                <a:gd name="T50" fmla="*/ 1703 w 1749"/>
                <a:gd name="T51" fmla="*/ 3367 h 3387"/>
                <a:gd name="T52" fmla="*/ 1674 w 1749"/>
                <a:gd name="T53" fmla="*/ 3383 h 3387"/>
                <a:gd name="T54" fmla="*/ 1640 w 1749"/>
                <a:gd name="T55" fmla="*/ 3387 h 3387"/>
                <a:gd name="T56" fmla="*/ 1606 w 1749"/>
                <a:gd name="T57" fmla="*/ 3383 h 3387"/>
                <a:gd name="T58" fmla="*/ 1574 w 1749"/>
                <a:gd name="T59" fmla="*/ 3367 h 3387"/>
                <a:gd name="T60" fmla="*/ 1552 w 1749"/>
                <a:gd name="T61" fmla="*/ 3343 h 3387"/>
                <a:gd name="T62" fmla="*/ 1536 w 1749"/>
                <a:gd name="T63" fmla="*/ 3313 h 3387"/>
                <a:gd name="T64" fmla="*/ 1530 w 1749"/>
                <a:gd name="T65" fmla="*/ 3279 h 3387"/>
                <a:gd name="T66" fmla="*/ 1530 w 1749"/>
                <a:gd name="T67" fmla="*/ 1202 h 3387"/>
                <a:gd name="T68" fmla="*/ 547 w 1749"/>
                <a:gd name="T69" fmla="*/ 1202 h 3387"/>
                <a:gd name="T70" fmla="*/ 465 w 1749"/>
                <a:gd name="T71" fmla="*/ 1196 h 3387"/>
                <a:gd name="T72" fmla="*/ 389 w 1749"/>
                <a:gd name="T73" fmla="*/ 1180 h 3387"/>
                <a:gd name="T74" fmla="*/ 316 w 1749"/>
                <a:gd name="T75" fmla="*/ 1152 h 3387"/>
                <a:gd name="T76" fmla="*/ 250 w 1749"/>
                <a:gd name="T77" fmla="*/ 1114 h 3387"/>
                <a:gd name="T78" fmla="*/ 188 w 1749"/>
                <a:gd name="T79" fmla="*/ 1069 h 3387"/>
                <a:gd name="T80" fmla="*/ 134 w 1749"/>
                <a:gd name="T81" fmla="*/ 1015 h 3387"/>
                <a:gd name="T82" fmla="*/ 88 w 1749"/>
                <a:gd name="T83" fmla="*/ 953 h 3387"/>
                <a:gd name="T84" fmla="*/ 50 w 1749"/>
                <a:gd name="T85" fmla="*/ 887 h 3387"/>
                <a:gd name="T86" fmla="*/ 22 w 1749"/>
                <a:gd name="T87" fmla="*/ 813 h 3387"/>
                <a:gd name="T88" fmla="*/ 6 w 1749"/>
                <a:gd name="T89" fmla="*/ 738 h 3387"/>
                <a:gd name="T90" fmla="*/ 0 w 1749"/>
                <a:gd name="T91" fmla="*/ 656 h 3387"/>
                <a:gd name="T92" fmla="*/ 0 w 1749"/>
                <a:gd name="T93" fmla="*/ 110 h 3387"/>
                <a:gd name="T94" fmla="*/ 4 w 1749"/>
                <a:gd name="T95" fmla="*/ 76 h 3387"/>
                <a:gd name="T96" fmla="*/ 20 w 1749"/>
                <a:gd name="T97" fmla="*/ 46 h 3387"/>
                <a:gd name="T98" fmla="*/ 44 w 1749"/>
                <a:gd name="T99" fmla="*/ 22 h 3387"/>
                <a:gd name="T100" fmla="*/ 74 w 1749"/>
                <a:gd name="T101" fmla="*/ 6 h 3387"/>
                <a:gd name="T102" fmla="*/ 108 w 1749"/>
                <a:gd name="T103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9" h="3387">
                  <a:moveTo>
                    <a:pt x="108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2" y="76"/>
                  </a:lnTo>
                  <a:lnTo>
                    <a:pt x="218" y="110"/>
                  </a:lnTo>
                  <a:lnTo>
                    <a:pt x="218" y="656"/>
                  </a:lnTo>
                  <a:lnTo>
                    <a:pt x="224" y="716"/>
                  </a:lnTo>
                  <a:lnTo>
                    <a:pt x="240" y="770"/>
                  </a:lnTo>
                  <a:lnTo>
                    <a:pt x="264" y="821"/>
                  </a:lnTo>
                  <a:lnTo>
                    <a:pt x="296" y="867"/>
                  </a:lnTo>
                  <a:lnTo>
                    <a:pt x="335" y="907"/>
                  </a:lnTo>
                  <a:lnTo>
                    <a:pt x="381" y="939"/>
                  </a:lnTo>
                  <a:lnTo>
                    <a:pt x="431" y="963"/>
                  </a:lnTo>
                  <a:lnTo>
                    <a:pt x="487" y="979"/>
                  </a:lnTo>
                  <a:lnTo>
                    <a:pt x="547" y="985"/>
                  </a:lnTo>
                  <a:lnTo>
                    <a:pt x="1640" y="985"/>
                  </a:lnTo>
                  <a:lnTo>
                    <a:pt x="1674" y="989"/>
                  </a:lnTo>
                  <a:lnTo>
                    <a:pt x="1703" y="1005"/>
                  </a:lnTo>
                  <a:lnTo>
                    <a:pt x="1727" y="1029"/>
                  </a:lnTo>
                  <a:lnTo>
                    <a:pt x="1743" y="1059"/>
                  </a:lnTo>
                  <a:lnTo>
                    <a:pt x="1749" y="1092"/>
                  </a:lnTo>
                  <a:lnTo>
                    <a:pt x="1749" y="3279"/>
                  </a:lnTo>
                  <a:lnTo>
                    <a:pt x="1743" y="3313"/>
                  </a:lnTo>
                  <a:lnTo>
                    <a:pt x="1727" y="3343"/>
                  </a:lnTo>
                  <a:lnTo>
                    <a:pt x="1703" y="3367"/>
                  </a:lnTo>
                  <a:lnTo>
                    <a:pt x="1674" y="3383"/>
                  </a:lnTo>
                  <a:lnTo>
                    <a:pt x="1640" y="3387"/>
                  </a:lnTo>
                  <a:lnTo>
                    <a:pt x="1606" y="3383"/>
                  </a:lnTo>
                  <a:lnTo>
                    <a:pt x="1574" y="3367"/>
                  </a:lnTo>
                  <a:lnTo>
                    <a:pt x="1552" y="3343"/>
                  </a:lnTo>
                  <a:lnTo>
                    <a:pt x="1536" y="3313"/>
                  </a:lnTo>
                  <a:lnTo>
                    <a:pt x="1530" y="3279"/>
                  </a:lnTo>
                  <a:lnTo>
                    <a:pt x="1530" y="1202"/>
                  </a:lnTo>
                  <a:lnTo>
                    <a:pt x="547" y="1202"/>
                  </a:lnTo>
                  <a:lnTo>
                    <a:pt x="465" y="1196"/>
                  </a:lnTo>
                  <a:lnTo>
                    <a:pt x="389" y="1180"/>
                  </a:lnTo>
                  <a:lnTo>
                    <a:pt x="316" y="1152"/>
                  </a:lnTo>
                  <a:lnTo>
                    <a:pt x="250" y="1114"/>
                  </a:lnTo>
                  <a:lnTo>
                    <a:pt x="188" y="1069"/>
                  </a:lnTo>
                  <a:lnTo>
                    <a:pt x="134" y="1015"/>
                  </a:lnTo>
                  <a:lnTo>
                    <a:pt x="88" y="953"/>
                  </a:lnTo>
                  <a:lnTo>
                    <a:pt x="50" y="887"/>
                  </a:lnTo>
                  <a:lnTo>
                    <a:pt x="22" y="813"/>
                  </a:lnTo>
                  <a:lnTo>
                    <a:pt x="6" y="738"/>
                  </a:lnTo>
                  <a:lnTo>
                    <a:pt x="0" y="656"/>
                  </a:lnTo>
                  <a:lnTo>
                    <a:pt x="0" y="110"/>
                  </a:lnTo>
                  <a:lnTo>
                    <a:pt x="4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35" y="1831"/>
              <a:ext cx="547" cy="108"/>
            </a:xfrm>
            <a:custGeom>
              <a:avLst/>
              <a:gdLst>
                <a:gd name="T0" fmla="*/ 109 w 1095"/>
                <a:gd name="T1" fmla="*/ 0 h 217"/>
                <a:gd name="T2" fmla="*/ 985 w 1095"/>
                <a:gd name="T3" fmla="*/ 0 h 217"/>
                <a:gd name="T4" fmla="*/ 1019 w 1095"/>
                <a:gd name="T5" fmla="*/ 6 h 217"/>
                <a:gd name="T6" fmla="*/ 1049 w 1095"/>
                <a:gd name="T7" fmla="*/ 20 h 217"/>
                <a:gd name="T8" fmla="*/ 1073 w 1095"/>
                <a:gd name="T9" fmla="*/ 44 h 217"/>
                <a:gd name="T10" fmla="*/ 1089 w 1095"/>
                <a:gd name="T11" fmla="*/ 74 h 217"/>
                <a:gd name="T12" fmla="*/ 1095 w 1095"/>
                <a:gd name="T13" fmla="*/ 110 h 217"/>
                <a:gd name="T14" fmla="*/ 1089 w 1095"/>
                <a:gd name="T15" fmla="*/ 144 h 217"/>
                <a:gd name="T16" fmla="*/ 1073 w 1095"/>
                <a:gd name="T17" fmla="*/ 174 h 217"/>
                <a:gd name="T18" fmla="*/ 1049 w 1095"/>
                <a:gd name="T19" fmla="*/ 198 h 217"/>
                <a:gd name="T20" fmla="*/ 1019 w 1095"/>
                <a:gd name="T21" fmla="*/ 213 h 217"/>
                <a:gd name="T22" fmla="*/ 985 w 1095"/>
                <a:gd name="T23" fmla="*/ 217 h 217"/>
                <a:gd name="T24" fmla="*/ 109 w 1095"/>
                <a:gd name="T25" fmla="*/ 217 h 217"/>
                <a:gd name="T26" fmla="*/ 76 w 1095"/>
                <a:gd name="T27" fmla="*/ 213 h 217"/>
                <a:gd name="T28" fmla="*/ 46 w 1095"/>
                <a:gd name="T29" fmla="*/ 198 h 217"/>
                <a:gd name="T30" fmla="*/ 22 w 1095"/>
                <a:gd name="T31" fmla="*/ 174 h 217"/>
                <a:gd name="T32" fmla="*/ 6 w 1095"/>
                <a:gd name="T33" fmla="*/ 144 h 217"/>
                <a:gd name="T34" fmla="*/ 0 w 1095"/>
                <a:gd name="T35" fmla="*/ 110 h 217"/>
                <a:gd name="T36" fmla="*/ 6 w 1095"/>
                <a:gd name="T37" fmla="*/ 74 h 217"/>
                <a:gd name="T38" fmla="*/ 22 w 1095"/>
                <a:gd name="T39" fmla="*/ 44 h 217"/>
                <a:gd name="T40" fmla="*/ 46 w 1095"/>
                <a:gd name="T41" fmla="*/ 20 h 217"/>
                <a:gd name="T42" fmla="*/ 76 w 1095"/>
                <a:gd name="T43" fmla="*/ 6 h 217"/>
                <a:gd name="T44" fmla="*/ 109 w 109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5" h="217">
                  <a:moveTo>
                    <a:pt x="109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0"/>
                  </a:lnTo>
                  <a:lnTo>
                    <a:pt x="1073" y="44"/>
                  </a:lnTo>
                  <a:lnTo>
                    <a:pt x="1089" y="74"/>
                  </a:lnTo>
                  <a:lnTo>
                    <a:pt x="1095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3"/>
                  </a:lnTo>
                  <a:lnTo>
                    <a:pt x="985" y="217"/>
                  </a:lnTo>
                  <a:lnTo>
                    <a:pt x="109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788" y="1831"/>
              <a:ext cx="438" cy="108"/>
            </a:xfrm>
            <a:custGeom>
              <a:avLst/>
              <a:gdLst>
                <a:gd name="T0" fmla="*/ 110 w 875"/>
                <a:gd name="T1" fmla="*/ 0 h 217"/>
                <a:gd name="T2" fmla="*/ 766 w 875"/>
                <a:gd name="T3" fmla="*/ 0 h 217"/>
                <a:gd name="T4" fmla="*/ 800 w 875"/>
                <a:gd name="T5" fmla="*/ 6 h 217"/>
                <a:gd name="T6" fmla="*/ 830 w 875"/>
                <a:gd name="T7" fmla="*/ 20 h 217"/>
                <a:gd name="T8" fmla="*/ 853 w 875"/>
                <a:gd name="T9" fmla="*/ 44 h 217"/>
                <a:gd name="T10" fmla="*/ 869 w 875"/>
                <a:gd name="T11" fmla="*/ 74 h 217"/>
                <a:gd name="T12" fmla="*/ 875 w 875"/>
                <a:gd name="T13" fmla="*/ 110 h 217"/>
                <a:gd name="T14" fmla="*/ 869 w 875"/>
                <a:gd name="T15" fmla="*/ 144 h 217"/>
                <a:gd name="T16" fmla="*/ 853 w 875"/>
                <a:gd name="T17" fmla="*/ 174 h 217"/>
                <a:gd name="T18" fmla="*/ 830 w 875"/>
                <a:gd name="T19" fmla="*/ 198 h 217"/>
                <a:gd name="T20" fmla="*/ 800 w 875"/>
                <a:gd name="T21" fmla="*/ 213 h 217"/>
                <a:gd name="T22" fmla="*/ 766 w 875"/>
                <a:gd name="T23" fmla="*/ 217 h 217"/>
                <a:gd name="T24" fmla="*/ 110 w 875"/>
                <a:gd name="T25" fmla="*/ 217 h 217"/>
                <a:gd name="T26" fmla="*/ 76 w 875"/>
                <a:gd name="T27" fmla="*/ 213 h 217"/>
                <a:gd name="T28" fmla="*/ 46 w 875"/>
                <a:gd name="T29" fmla="*/ 198 h 217"/>
                <a:gd name="T30" fmla="*/ 22 w 875"/>
                <a:gd name="T31" fmla="*/ 174 h 217"/>
                <a:gd name="T32" fmla="*/ 6 w 875"/>
                <a:gd name="T33" fmla="*/ 144 h 217"/>
                <a:gd name="T34" fmla="*/ 0 w 875"/>
                <a:gd name="T35" fmla="*/ 110 h 217"/>
                <a:gd name="T36" fmla="*/ 6 w 875"/>
                <a:gd name="T37" fmla="*/ 74 h 217"/>
                <a:gd name="T38" fmla="*/ 22 w 875"/>
                <a:gd name="T39" fmla="*/ 44 h 217"/>
                <a:gd name="T40" fmla="*/ 46 w 875"/>
                <a:gd name="T41" fmla="*/ 20 h 217"/>
                <a:gd name="T42" fmla="*/ 76 w 875"/>
                <a:gd name="T43" fmla="*/ 6 h 217"/>
                <a:gd name="T44" fmla="*/ 110 w 875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5" h="217">
                  <a:moveTo>
                    <a:pt x="110" y="0"/>
                  </a:moveTo>
                  <a:lnTo>
                    <a:pt x="766" y="0"/>
                  </a:lnTo>
                  <a:lnTo>
                    <a:pt x="800" y="6"/>
                  </a:lnTo>
                  <a:lnTo>
                    <a:pt x="830" y="20"/>
                  </a:lnTo>
                  <a:lnTo>
                    <a:pt x="853" y="44"/>
                  </a:lnTo>
                  <a:lnTo>
                    <a:pt x="869" y="74"/>
                  </a:lnTo>
                  <a:lnTo>
                    <a:pt x="875" y="110"/>
                  </a:lnTo>
                  <a:lnTo>
                    <a:pt x="869" y="144"/>
                  </a:lnTo>
                  <a:lnTo>
                    <a:pt x="853" y="174"/>
                  </a:lnTo>
                  <a:lnTo>
                    <a:pt x="830" y="198"/>
                  </a:lnTo>
                  <a:lnTo>
                    <a:pt x="800" y="213"/>
                  </a:lnTo>
                  <a:lnTo>
                    <a:pt x="766" y="217"/>
                  </a:lnTo>
                  <a:lnTo>
                    <a:pt x="110" y="217"/>
                  </a:lnTo>
                  <a:lnTo>
                    <a:pt x="76" y="213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2788" y="2159"/>
              <a:ext cx="220" cy="108"/>
            </a:xfrm>
            <a:custGeom>
              <a:avLst/>
              <a:gdLst>
                <a:gd name="T0" fmla="*/ 110 w 439"/>
                <a:gd name="T1" fmla="*/ 0 h 217"/>
                <a:gd name="T2" fmla="*/ 329 w 439"/>
                <a:gd name="T3" fmla="*/ 0 h 217"/>
                <a:gd name="T4" fmla="*/ 363 w 439"/>
                <a:gd name="T5" fmla="*/ 4 h 217"/>
                <a:gd name="T6" fmla="*/ 393 w 439"/>
                <a:gd name="T7" fmla="*/ 20 h 217"/>
                <a:gd name="T8" fmla="*/ 417 w 439"/>
                <a:gd name="T9" fmla="*/ 44 h 217"/>
                <a:gd name="T10" fmla="*/ 433 w 439"/>
                <a:gd name="T11" fmla="*/ 74 h 217"/>
                <a:gd name="T12" fmla="*/ 439 w 439"/>
                <a:gd name="T13" fmla="*/ 108 h 217"/>
                <a:gd name="T14" fmla="*/ 433 w 439"/>
                <a:gd name="T15" fmla="*/ 144 h 217"/>
                <a:gd name="T16" fmla="*/ 417 w 439"/>
                <a:gd name="T17" fmla="*/ 173 h 217"/>
                <a:gd name="T18" fmla="*/ 393 w 439"/>
                <a:gd name="T19" fmla="*/ 197 h 217"/>
                <a:gd name="T20" fmla="*/ 363 w 439"/>
                <a:gd name="T21" fmla="*/ 211 h 217"/>
                <a:gd name="T22" fmla="*/ 329 w 439"/>
                <a:gd name="T23" fmla="*/ 217 h 217"/>
                <a:gd name="T24" fmla="*/ 110 w 439"/>
                <a:gd name="T25" fmla="*/ 217 h 217"/>
                <a:gd name="T26" fmla="*/ 76 w 439"/>
                <a:gd name="T27" fmla="*/ 211 h 217"/>
                <a:gd name="T28" fmla="*/ 46 w 439"/>
                <a:gd name="T29" fmla="*/ 197 h 217"/>
                <a:gd name="T30" fmla="*/ 22 w 439"/>
                <a:gd name="T31" fmla="*/ 173 h 217"/>
                <a:gd name="T32" fmla="*/ 6 w 439"/>
                <a:gd name="T33" fmla="*/ 144 h 217"/>
                <a:gd name="T34" fmla="*/ 0 w 439"/>
                <a:gd name="T35" fmla="*/ 108 h 217"/>
                <a:gd name="T36" fmla="*/ 6 w 439"/>
                <a:gd name="T37" fmla="*/ 74 h 217"/>
                <a:gd name="T38" fmla="*/ 22 w 439"/>
                <a:gd name="T39" fmla="*/ 44 h 217"/>
                <a:gd name="T40" fmla="*/ 46 w 439"/>
                <a:gd name="T41" fmla="*/ 20 h 217"/>
                <a:gd name="T42" fmla="*/ 76 w 439"/>
                <a:gd name="T43" fmla="*/ 4 h 217"/>
                <a:gd name="T44" fmla="*/ 110 w 439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9" h="217">
                  <a:moveTo>
                    <a:pt x="110" y="0"/>
                  </a:moveTo>
                  <a:lnTo>
                    <a:pt x="329" y="0"/>
                  </a:lnTo>
                  <a:lnTo>
                    <a:pt x="363" y="4"/>
                  </a:lnTo>
                  <a:lnTo>
                    <a:pt x="393" y="20"/>
                  </a:lnTo>
                  <a:lnTo>
                    <a:pt x="417" y="44"/>
                  </a:lnTo>
                  <a:lnTo>
                    <a:pt x="433" y="74"/>
                  </a:lnTo>
                  <a:lnTo>
                    <a:pt x="439" y="108"/>
                  </a:lnTo>
                  <a:lnTo>
                    <a:pt x="433" y="144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1"/>
                  </a:lnTo>
                  <a:lnTo>
                    <a:pt x="329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4"/>
                  </a:lnTo>
                  <a:lnTo>
                    <a:pt x="0" y="108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2788" y="1503"/>
              <a:ext cx="657" cy="108"/>
            </a:xfrm>
            <a:custGeom>
              <a:avLst/>
              <a:gdLst>
                <a:gd name="T0" fmla="*/ 110 w 1312"/>
                <a:gd name="T1" fmla="*/ 0 h 218"/>
                <a:gd name="T2" fmla="*/ 1202 w 1312"/>
                <a:gd name="T3" fmla="*/ 0 h 218"/>
                <a:gd name="T4" fmla="*/ 1238 w 1312"/>
                <a:gd name="T5" fmla="*/ 6 h 218"/>
                <a:gd name="T6" fmla="*/ 1268 w 1312"/>
                <a:gd name="T7" fmla="*/ 20 h 218"/>
                <a:gd name="T8" fmla="*/ 1290 w 1312"/>
                <a:gd name="T9" fmla="*/ 44 h 218"/>
                <a:gd name="T10" fmla="*/ 1306 w 1312"/>
                <a:gd name="T11" fmla="*/ 74 h 218"/>
                <a:gd name="T12" fmla="*/ 1312 w 1312"/>
                <a:gd name="T13" fmla="*/ 110 h 218"/>
                <a:gd name="T14" fmla="*/ 1306 w 1312"/>
                <a:gd name="T15" fmla="*/ 144 h 218"/>
                <a:gd name="T16" fmla="*/ 1290 w 1312"/>
                <a:gd name="T17" fmla="*/ 174 h 218"/>
                <a:gd name="T18" fmla="*/ 1268 w 1312"/>
                <a:gd name="T19" fmla="*/ 198 h 218"/>
                <a:gd name="T20" fmla="*/ 1238 w 1312"/>
                <a:gd name="T21" fmla="*/ 214 h 218"/>
                <a:gd name="T22" fmla="*/ 1202 w 1312"/>
                <a:gd name="T23" fmla="*/ 218 h 218"/>
                <a:gd name="T24" fmla="*/ 110 w 1312"/>
                <a:gd name="T25" fmla="*/ 218 h 218"/>
                <a:gd name="T26" fmla="*/ 76 w 1312"/>
                <a:gd name="T27" fmla="*/ 214 h 218"/>
                <a:gd name="T28" fmla="*/ 46 w 1312"/>
                <a:gd name="T29" fmla="*/ 198 h 218"/>
                <a:gd name="T30" fmla="*/ 22 w 1312"/>
                <a:gd name="T31" fmla="*/ 174 h 218"/>
                <a:gd name="T32" fmla="*/ 6 w 1312"/>
                <a:gd name="T33" fmla="*/ 144 h 218"/>
                <a:gd name="T34" fmla="*/ 0 w 1312"/>
                <a:gd name="T35" fmla="*/ 110 h 218"/>
                <a:gd name="T36" fmla="*/ 6 w 1312"/>
                <a:gd name="T37" fmla="*/ 74 h 218"/>
                <a:gd name="T38" fmla="*/ 22 w 1312"/>
                <a:gd name="T39" fmla="*/ 44 h 218"/>
                <a:gd name="T40" fmla="*/ 46 w 1312"/>
                <a:gd name="T41" fmla="*/ 20 h 218"/>
                <a:gd name="T42" fmla="*/ 76 w 1312"/>
                <a:gd name="T43" fmla="*/ 6 h 218"/>
                <a:gd name="T44" fmla="*/ 110 w 1312"/>
                <a:gd name="T45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8">
                  <a:moveTo>
                    <a:pt x="110" y="0"/>
                  </a:moveTo>
                  <a:lnTo>
                    <a:pt x="1202" y="0"/>
                  </a:lnTo>
                  <a:lnTo>
                    <a:pt x="1238" y="6"/>
                  </a:lnTo>
                  <a:lnTo>
                    <a:pt x="1268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10"/>
                  </a:lnTo>
                  <a:lnTo>
                    <a:pt x="1306" y="144"/>
                  </a:lnTo>
                  <a:lnTo>
                    <a:pt x="1290" y="174"/>
                  </a:lnTo>
                  <a:lnTo>
                    <a:pt x="1268" y="198"/>
                  </a:lnTo>
                  <a:lnTo>
                    <a:pt x="1238" y="214"/>
                  </a:lnTo>
                  <a:lnTo>
                    <a:pt x="1202" y="218"/>
                  </a:lnTo>
                  <a:lnTo>
                    <a:pt x="110" y="218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117" y="2159"/>
              <a:ext cx="656" cy="108"/>
            </a:xfrm>
            <a:custGeom>
              <a:avLst/>
              <a:gdLst>
                <a:gd name="T0" fmla="*/ 110 w 1312"/>
                <a:gd name="T1" fmla="*/ 0 h 217"/>
                <a:gd name="T2" fmla="*/ 1202 w 1312"/>
                <a:gd name="T3" fmla="*/ 0 h 217"/>
                <a:gd name="T4" fmla="*/ 1236 w 1312"/>
                <a:gd name="T5" fmla="*/ 4 h 217"/>
                <a:gd name="T6" fmla="*/ 1266 w 1312"/>
                <a:gd name="T7" fmla="*/ 20 h 217"/>
                <a:gd name="T8" fmla="*/ 1290 w 1312"/>
                <a:gd name="T9" fmla="*/ 44 h 217"/>
                <a:gd name="T10" fmla="*/ 1306 w 1312"/>
                <a:gd name="T11" fmla="*/ 74 h 217"/>
                <a:gd name="T12" fmla="*/ 1312 w 1312"/>
                <a:gd name="T13" fmla="*/ 108 h 217"/>
                <a:gd name="T14" fmla="*/ 1306 w 1312"/>
                <a:gd name="T15" fmla="*/ 144 h 217"/>
                <a:gd name="T16" fmla="*/ 1290 w 1312"/>
                <a:gd name="T17" fmla="*/ 173 h 217"/>
                <a:gd name="T18" fmla="*/ 1266 w 1312"/>
                <a:gd name="T19" fmla="*/ 197 h 217"/>
                <a:gd name="T20" fmla="*/ 1236 w 1312"/>
                <a:gd name="T21" fmla="*/ 211 h 217"/>
                <a:gd name="T22" fmla="*/ 1202 w 1312"/>
                <a:gd name="T23" fmla="*/ 217 h 217"/>
                <a:gd name="T24" fmla="*/ 110 w 1312"/>
                <a:gd name="T25" fmla="*/ 217 h 217"/>
                <a:gd name="T26" fmla="*/ 76 w 1312"/>
                <a:gd name="T27" fmla="*/ 211 h 217"/>
                <a:gd name="T28" fmla="*/ 46 w 1312"/>
                <a:gd name="T29" fmla="*/ 197 h 217"/>
                <a:gd name="T30" fmla="*/ 22 w 1312"/>
                <a:gd name="T31" fmla="*/ 173 h 217"/>
                <a:gd name="T32" fmla="*/ 4 w 1312"/>
                <a:gd name="T33" fmla="*/ 144 h 217"/>
                <a:gd name="T34" fmla="*/ 0 w 1312"/>
                <a:gd name="T35" fmla="*/ 108 h 217"/>
                <a:gd name="T36" fmla="*/ 4 w 1312"/>
                <a:gd name="T37" fmla="*/ 74 h 217"/>
                <a:gd name="T38" fmla="*/ 22 w 1312"/>
                <a:gd name="T39" fmla="*/ 44 h 217"/>
                <a:gd name="T40" fmla="*/ 46 w 1312"/>
                <a:gd name="T41" fmla="*/ 20 h 217"/>
                <a:gd name="T42" fmla="*/ 76 w 1312"/>
                <a:gd name="T43" fmla="*/ 4 h 217"/>
                <a:gd name="T44" fmla="*/ 110 w 1312"/>
                <a:gd name="T4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2" h="217">
                  <a:moveTo>
                    <a:pt x="110" y="0"/>
                  </a:moveTo>
                  <a:lnTo>
                    <a:pt x="1202" y="0"/>
                  </a:lnTo>
                  <a:lnTo>
                    <a:pt x="1236" y="4"/>
                  </a:lnTo>
                  <a:lnTo>
                    <a:pt x="1266" y="20"/>
                  </a:lnTo>
                  <a:lnTo>
                    <a:pt x="1290" y="44"/>
                  </a:lnTo>
                  <a:lnTo>
                    <a:pt x="1306" y="74"/>
                  </a:lnTo>
                  <a:lnTo>
                    <a:pt x="1312" y="108"/>
                  </a:lnTo>
                  <a:lnTo>
                    <a:pt x="1306" y="144"/>
                  </a:lnTo>
                  <a:lnTo>
                    <a:pt x="1290" y="173"/>
                  </a:lnTo>
                  <a:lnTo>
                    <a:pt x="1266" y="197"/>
                  </a:lnTo>
                  <a:lnTo>
                    <a:pt x="1236" y="211"/>
                  </a:lnTo>
                  <a:lnTo>
                    <a:pt x="1202" y="217"/>
                  </a:lnTo>
                  <a:lnTo>
                    <a:pt x="110" y="217"/>
                  </a:lnTo>
                  <a:lnTo>
                    <a:pt x="76" y="211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4" y="144"/>
                  </a:lnTo>
                  <a:lnTo>
                    <a:pt x="0" y="108"/>
                  </a:lnTo>
                  <a:lnTo>
                    <a:pt x="4" y="74"/>
                  </a:lnTo>
                  <a:lnTo>
                    <a:pt x="22" y="44"/>
                  </a:lnTo>
                  <a:lnTo>
                    <a:pt x="46" y="20"/>
                  </a:lnTo>
                  <a:lnTo>
                    <a:pt x="76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3445" y="2813"/>
              <a:ext cx="218" cy="110"/>
            </a:xfrm>
            <a:custGeom>
              <a:avLst/>
              <a:gdLst>
                <a:gd name="T0" fmla="*/ 110 w 437"/>
                <a:gd name="T1" fmla="*/ 0 h 219"/>
                <a:gd name="T2" fmla="*/ 327 w 437"/>
                <a:gd name="T3" fmla="*/ 0 h 219"/>
                <a:gd name="T4" fmla="*/ 363 w 437"/>
                <a:gd name="T5" fmla="*/ 6 h 219"/>
                <a:gd name="T6" fmla="*/ 393 w 437"/>
                <a:gd name="T7" fmla="*/ 22 h 219"/>
                <a:gd name="T8" fmla="*/ 417 w 437"/>
                <a:gd name="T9" fmla="*/ 45 h 219"/>
                <a:gd name="T10" fmla="*/ 431 w 437"/>
                <a:gd name="T11" fmla="*/ 75 h 219"/>
                <a:gd name="T12" fmla="*/ 437 w 437"/>
                <a:gd name="T13" fmla="*/ 109 h 219"/>
                <a:gd name="T14" fmla="*/ 431 w 437"/>
                <a:gd name="T15" fmla="*/ 143 h 219"/>
                <a:gd name="T16" fmla="*/ 417 w 437"/>
                <a:gd name="T17" fmla="*/ 173 h 219"/>
                <a:gd name="T18" fmla="*/ 393 w 437"/>
                <a:gd name="T19" fmla="*/ 197 h 219"/>
                <a:gd name="T20" fmla="*/ 363 w 437"/>
                <a:gd name="T21" fmla="*/ 213 h 219"/>
                <a:gd name="T22" fmla="*/ 327 w 437"/>
                <a:gd name="T23" fmla="*/ 219 h 219"/>
                <a:gd name="T24" fmla="*/ 110 w 437"/>
                <a:gd name="T25" fmla="*/ 219 h 219"/>
                <a:gd name="T26" fmla="*/ 76 w 437"/>
                <a:gd name="T27" fmla="*/ 213 h 219"/>
                <a:gd name="T28" fmla="*/ 44 w 437"/>
                <a:gd name="T29" fmla="*/ 197 h 219"/>
                <a:gd name="T30" fmla="*/ 22 w 437"/>
                <a:gd name="T31" fmla="*/ 173 h 219"/>
                <a:gd name="T32" fmla="*/ 6 w 437"/>
                <a:gd name="T33" fmla="*/ 143 h 219"/>
                <a:gd name="T34" fmla="*/ 0 w 437"/>
                <a:gd name="T35" fmla="*/ 109 h 219"/>
                <a:gd name="T36" fmla="*/ 6 w 437"/>
                <a:gd name="T37" fmla="*/ 75 h 219"/>
                <a:gd name="T38" fmla="*/ 22 w 437"/>
                <a:gd name="T39" fmla="*/ 45 h 219"/>
                <a:gd name="T40" fmla="*/ 44 w 437"/>
                <a:gd name="T41" fmla="*/ 22 h 219"/>
                <a:gd name="T42" fmla="*/ 76 w 437"/>
                <a:gd name="T43" fmla="*/ 6 h 219"/>
                <a:gd name="T44" fmla="*/ 110 w 437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7" h="219">
                  <a:moveTo>
                    <a:pt x="110" y="0"/>
                  </a:moveTo>
                  <a:lnTo>
                    <a:pt x="327" y="0"/>
                  </a:lnTo>
                  <a:lnTo>
                    <a:pt x="363" y="6"/>
                  </a:lnTo>
                  <a:lnTo>
                    <a:pt x="393" y="22"/>
                  </a:lnTo>
                  <a:lnTo>
                    <a:pt x="417" y="45"/>
                  </a:lnTo>
                  <a:lnTo>
                    <a:pt x="431" y="75"/>
                  </a:lnTo>
                  <a:lnTo>
                    <a:pt x="437" y="109"/>
                  </a:lnTo>
                  <a:lnTo>
                    <a:pt x="431" y="143"/>
                  </a:lnTo>
                  <a:lnTo>
                    <a:pt x="417" y="173"/>
                  </a:lnTo>
                  <a:lnTo>
                    <a:pt x="393" y="197"/>
                  </a:lnTo>
                  <a:lnTo>
                    <a:pt x="363" y="213"/>
                  </a:lnTo>
                  <a:lnTo>
                    <a:pt x="327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4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4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2788" y="2485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6 h 219"/>
                <a:gd name="T10" fmla="*/ 1089 w 1093"/>
                <a:gd name="T11" fmla="*/ 76 h 219"/>
                <a:gd name="T12" fmla="*/ 1093 w 1093"/>
                <a:gd name="T13" fmla="*/ 109 h 219"/>
                <a:gd name="T14" fmla="*/ 1089 w 1093"/>
                <a:gd name="T15" fmla="*/ 145 h 219"/>
                <a:gd name="T16" fmla="*/ 1073 w 1093"/>
                <a:gd name="T17" fmla="*/ 175 h 219"/>
                <a:gd name="T18" fmla="*/ 1049 w 1093"/>
                <a:gd name="T19" fmla="*/ 199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9 h 219"/>
                <a:gd name="T30" fmla="*/ 22 w 1093"/>
                <a:gd name="T31" fmla="*/ 175 h 219"/>
                <a:gd name="T32" fmla="*/ 6 w 1093"/>
                <a:gd name="T33" fmla="*/ 145 h 219"/>
                <a:gd name="T34" fmla="*/ 0 w 1093"/>
                <a:gd name="T35" fmla="*/ 109 h 219"/>
                <a:gd name="T36" fmla="*/ 6 w 1093"/>
                <a:gd name="T37" fmla="*/ 76 h 219"/>
                <a:gd name="T38" fmla="*/ 22 w 1093"/>
                <a:gd name="T39" fmla="*/ 46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09"/>
                  </a:lnTo>
                  <a:lnTo>
                    <a:pt x="1089" y="145"/>
                  </a:lnTo>
                  <a:lnTo>
                    <a:pt x="1073" y="175"/>
                  </a:lnTo>
                  <a:lnTo>
                    <a:pt x="1049" y="199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09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788" y="2813"/>
              <a:ext cx="547" cy="110"/>
            </a:xfrm>
            <a:custGeom>
              <a:avLst/>
              <a:gdLst>
                <a:gd name="T0" fmla="*/ 110 w 1093"/>
                <a:gd name="T1" fmla="*/ 0 h 219"/>
                <a:gd name="T2" fmla="*/ 985 w 1093"/>
                <a:gd name="T3" fmla="*/ 0 h 219"/>
                <a:gd name="T4" fmla="*/ 1019 w 1093"/>
                <a:gd name="T5" fmla="*/ 6 h 219"/>
                <a:gd name="T6" fmla="*/ 1049 w 1093"/>
                <a:gd name="T7" fmla="*/ 22 h 219"/>
                <a:gd name="T8" fmla="*/ 1073 w 1093"/>
                <a:gd name="T9" fmla="*/ 45 h 219"/>
                <a:gd name="T10" fmla="*/ 1089 w 1093"/>
                <a:gd name="T11" fmla="*/ 75 h 219"/>
                <a:gd name="T12" fmla="*/ 1093 w 1093"/>
                <a:gd name="T13" fmla="*/ 109 h 219"/>
                <a:gd name="T14" fmla="*/ 1089 w 1093"/>
                <a:gd name="T15" fmla="*/ 143 h 219"/>
                <a:gd name="T16" fmla="*/ 1073 w 1093"/>
                <a:gd name="T17" fmla="*/ 173 h 219"/>
                <a:gd name="T18" fmla="*/ 1049 w 1093"/>
                <a:gd name="T19" fmla="*/ 197 h 219"/>
                <a:gd name="T20" fmla="*/ 1019 w 1093"/>
                <a:gd name="T21" fmla="*/ 213 h 219"/>
                <a:gd name="T22" fmla="*/ 985 w 1093"/>
                <a:gd name="T23" fmla="*/ 219 h 219"/>
                <a:gd name="T24" fmla="*/ 110 w 1093"/>
                <a:gd name="T25" fmla="*/ 219 h 219"/>
                <a:gd name="T26" fmla="*/ 76 w 1093"/>
                <a:gd name="T27" fmla="*/ 213 h 219"/>
                <a:gd name="T28" fmla="*/ 46 w 1093"/>
                <a:gd name="T29" fmla="*/ 197 h 219"/>
                <a:gd name="T30" fmla="*/ 22 w 1093"/>
                <a:gd name="T31" fmla="*/ 173 h 219"/>
                <a:gd name="T32" fmla="*/ 6 w 1093"/>
                <a:gd name="T33" fmla="*/ 143 h 219"/>
                <a:gd name="T34" fmla="*/ 0 w 1093"/>
                <a:gd name="T35" fmla="*/ 109 h 219"/>
                <a:gd name="T36" fmla="*/ 6 w 1093"/>
                <a:gd name="T37" fmla="*/ 75 h 219"/>
                <a:gd name="T38" fmla="*/ 22 w 1093"/>
                <a:gd name="T39" fmla="*/ 45 h 219"/>
                <a:gd name="T40" fmla="*/ 46 w 1093"/>
                <a:gd name="T41" fmla="*/ 22 h 219"/>
                <a:gd name="T42" fmla="*/ 76 w 1093"/>
                <a:gd name="T43" fmla="*/ 6 h 219"/>
                <a:gd name="T44" fmla="*/ 110 w 1093"/>
                <a:gd name="T4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19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5"/>
                  </a:lnTo>
                  <a:lnTo>
                    <a:pt x="1089" y="75"/>
                  </a:lnTo>
                  <a:lnTo>
                    <a:pt x="1093" y="109"/>
                  </a:lnTo>
                  <a:lnTo>
                    <a:pt x="1089" y="143"/>
                  </a:lnTo>
                  <a:lnTo>
                    <a:pt x="1073" y="173"/>
                  </a:lnTo>
                  <a:lnTo>
                    <a:pt x="1049" y="197"/>
                  </a:lnTo>
                  <a:lnTo>
                    <a:pt x="1019" y="213"/>
                  </a:lnTo>
                  <a:lnTo>
                    <a:pt x="985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7"/>
                  </a:lnTo>
                  <a:lnTo>
                    <a:pt x="22" y="173"/>
                  </a:lnTo>
                  <a:lnTo>
                    <a:pt x="6" y="143"/>
                  </a:lnTo>
                  <a:lnTo>
                    <a:pt x="0" y="109"/>
                  </a:lnTo>
                  <a:lnTo>
                    <a:pt x="6" y="75"/>
                  </a:lnTo>
                  <a:lnTo>
                    <a:pt x="22" y="45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6"/>
            <p:cNvSpPr>
              <a:spLocks noEditPoints="1"/>
            </p:cNvSpPr>
            <p:nvPr/>
          </p:nvSpPr>
          <p:spPr bwMode="auto">
            <a:xfrm>
              <a:off x="3445" y="2597"/>
              <a:ext cx="1202" cy="1200"/>
            </a:xfrm>
            <a:custGeom>
              <a:avLst/>
              <a:gdLst>
                <a:gd name="T0" fmla="*/ 219 w 2405"/>
                <a:gd name="T1" fmla="*/ 2181 h 2400"/>
                <a:gd name="T2" fmla="*/ 219 w 2405"/>
                <a:gd name="T3" fmla="*/ 1680 h 2400"/>
                <a:gd name="T4" fmla="*/ 702 w 2405"/>
                <a:gd name="T5" fmla="*/ 1854 h 2400"/>
                <a:gd name="T6" fmla="*/ 1825 w 2405"/>
                <a:gd name="T7" fmla="*/ 1078 h 2400"/>
                <a:gd name="T8" fmla="*/ 1322 w 2405"/>
                <a:gd name="T9" fmla="*/ 576 h 2400"/>
                <a:gd name="T10" fmla="*/ 546 w 2405"/>
                <a:gd name="T11" fmla="*/ 1698 h 2400"/>
                <a:gd name="T12" fmla="*/ 1322 w 2405"/>
                <a:gd name="T13" fmla="*/ 576 h 2400"/>
                <a:gd name="T14" fmla="*/ 1739 w 2405"/>
                <a:gd name="T15" fmla="*/ 217 h 2400"/>
                <a:gd name="T16" fmla="*/ 1657 w 2405"/>
                <a:gd name="T17" fmla="*/ 249 h 2400"/>
                <a:gd name="T18" fmla="*/ 1478 w 2405"/>
                <a:gd name="T19" fmla="*/ 423 h 2400"/>
                <a:gd name="T20" fmla="*/ 2120 w 2405"/>
                <a:gd name="T21" fmla="*/ 781 h 2400"/>
                <a:gd name="T22" fmla="*/ 2174 w 2405"/>
                <a:gd name="T23" fmla="*/ 704 h 2400"/>
                <a:gd name="T24" fmla="*/ 2186 w 2405"/>
                <a:gd name="T25" fmla="*/ 620 h 2400"/>
                <a:gd name="T26" fmla="*/ 2152 w 2405"/>
                <a:gd name="T27" fmla="*/ 538 h 2400"/>
                <a:gd name="T28" fmla="*/ 1901 w 2405"/>
                <a:gd name="T29" fmla="*/ 281 h 2400"/>
                <a:gd name="T30" fmla="*/ 1823 w 2405"/>
                <a:gd name="T31" fmla="*/ 227 h 2400"/>
                <a:gd name="T32" fmla="*/ 1761 w 2405"/>
                <a:gd name="T33" fmla="*/ 0 h 2400"/>
                <a:gd name="T34" fmla="*/ 1887 w 2405"/>
                <a:gd name="T35" fmla="*/ 20 h 2400"/>
                <a:gd name="T36" fmla="*/ 2002 w 2405"/>
                <a:gd name="T37" fmla="*/ 82 h 2400"/>
                <a:gd name="T38" fmla="*/ 2275 w 2405"/>
                <a:gd name="T39" fmla="*/ 345 h 2400"/>
                <a:gd name="T40" fmla="*/ 2359 w 2405"/>
                <a:gd name="T41" fmla="*/ 457 h 2400"/>
                <a:gd name="T42" fmla="*/ 2401 w 2405"/>
                <a:gd name="T43" fmla="*/ 578 h 2400"/>
                <a:gd name="T44" fmla="*/ 2401 w 2405"/>
                <a:gd name="T45" fmla="*/ 704 h 2400"/>
                <a:gd name="T46" fmla="*/ 2359 w 2405"/>
                <a:gd name="T47" fmla="*/ 825 h 2400"/>
                <a:gd name="T48" fmla="*/ 2275 w 2405"/>
                <a:gd name="T49" fmla="*/ 937 h 2400"/>
                <a:gd name="T50" fmla="*/ 820 w 2405"/>
                <a:gd name="T51" fmla="*/ 2386 h 2400"/>
                <a:gd name="T52" fmla="*/ 766 w 2405"/>
                <a:gd name="T53" fmla="*/ 2400 h 2400"/>
                <a:gd name="T54" fmla="*/ 76 w 2405"/>
                <a:gd name="T55" fmla="*/ 2394 h 2400"/>
                <a:gd name="T56" fmla="*/ 22 w 2405"/>
                <a:gd name="T57" fmla="*/ 2356 h 2400"/>
                <a:gd name="T58" fmla="*/ 0 w 2405"/>
                <a:gd name="T59" fmla="*/ 2290 h 2400"/>
                <a:gd name="T60" fmla="*/ 4 w 2405"/>
                <a:gd name="T61" fmla="*/ 1607 h 2400"/>
                <a:gd name="T62" fmla="*/ 32 w 2405"/>
                <a:gd name="T63" fmla="*/ 1559 h 2400"/>
                <a:gd name="T64" fmla="*/ 1518 w 2405"/>
                <a:gd name="T65" fmla="*/ 82 h 2400"/>
                <a:gd name="T66" fmla="*/ 1635 w 2405"/>
                <a:gd name="T67" fmla="*/ 20 h 2400"/>
                <a:gd name="T68" fmla="*/ 1761 w 2405"/>
                <a:gd name="T6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5" h="2400">
                  <a:moveTo>
                    <a:pt x="219" y="1680"/>
                  </a:moveTo>
                  <a:lnTo>
                    <a:pt x="219" y="2181"/>
                  </a:lnTo>
                  <a:lnTo>
                    <a:pt x="720" y="2181"/>
                  </a:lnTo>
                  <a:lnTo>
                    <a:pt x="219" y="1680"/>
                  </a:lnTo>
                  <a:close/>
                  <a:moveTo>
                    <a:pt x="1651" y="905"/>
                  </a:moveTo>
                  <a:lnTo>
                    <a:pt x="702" y="1854"/>
                  </a:lnTo>
                  <a:lnTo>
                    <a:pt x="876" y="2027"/>
                  </a:lnTo>
                  <a:lnTo>
                    <a:pt x="1825" y="1078"/>
                  </a:lnTo>
                  <a:lnTo>
                    <a:pt x="1651" y="905"/>
                  </a:lnTo>
                  <a:close/>
                  <a:moveTo>
                    <a:pt x="1322" y="576"/>
                  </a:moveTo>
                  <a:lnTo>
                    <a:pt x="373" y="1525"/>
                  </a:lnTo>
                  <a:lnTo>
                    <a:pt x="546" y="1698"/>
                  </a:lnTo>
                  <a:lnTo>
                    <a:pt x="1496" y="750"/>
                  </a:lnTo>
                  <a:lnTo>
                    <a:pt x="1322" y="576"/>
                  </a:lnTo>
                  <a:close/>
                  <a:moveTo>
                    <a:pt x="1781" y="217"/>
                  </a:moveTo>
                  <a:lnTo>
                    <a:pt x="1739" y="217"/>
                  </a:lnTo>
                  <a:lnTo>
                    <a:pt x="1697" y="227"/>
                  </a:lnTo>
                  <a:lnTo>
                    <a:pt x="1657" y="249"/>
                  </a:lnTo>
                  <a:lnTo>
                    <a:pt x="1619" y="281"/>
                  </a:lnTo>
                  <a:lnTo>
                    <a:pt x="1478" y="423"/>
                  </a:lnTo>
                  <a:lnTo>
                    <a:pt x="1978" y="923"/>
                  </a:lnTo>
                  <a:lnTo>
                    <a:pt x="2120" y="781"/>
                  </a:lnTo>
                  <a:lnTo>
                    <a:pt x="2152" y="744"/>
                  </a:lnTo>
                  <a:lnTo>
                    <a:pt x="2174" y="704"/>
                  </a:lnTo>
                  <a:lnTo>
                    <a:pt x="2186" y="662"/>
                  </a:lnTo>
                  <a:lnTo>
                    <a:pt x="2186" y="620"/>
                  </a:lnTo>
                  <a:lnTo>
                    <a:pt x="2174" y="578"/>
                  </a:lnTo>
                  <a:lnTo>
                    <a:pt x="2152" y="538"/>
                  </a:lnTo>
                  <a:lnTo>
                    <a:pt x="2120" y="500"/>
                  </a:lnTo>
                  <a:lnTo>
                    <a:pt x="1901" y="281"/>
                  </a:lnTo>
                  <a:lnTo>
                    <a:pt x="1863" y="249"/>
                  </a:lnTo>
                  <a:lnTo>
                    <a:pt x="1823" y="227"/>
                  </a:lnTo>
                  <a:lnTo>
                    <a:pt x="1781" y="217"/>
                  </a:lnTo>
                  <a:close/>
                  <a:moveTo>
                    <a:pt x="1761" y="0"/>
                  </a:moveTo>
                  <a:lnTo>
                    <a:pt x="1823" y="6"/>
                  </a:lnTo>
                  <a:lnTo>
                    <a:pt x="1887" y="20"/>
                  </a:lnTo>
                  <a:lnTo>
                    <a:pt x="1946" y="46"/>
                  </a:lnTo>
                  <a:lnTo>
                    <a:pt x="2002" y="82"/>
                  </a:lnTo>
                  <a:lnTo>
                    <a:pt x="2056" y="126"/>
                  </a:lnTo>
                  <a:lnTo>
                    <a:pt x="2275" y="345"/>
                  </a:lnTo>
                  <a:lnTo>
                    <a:pt x="2321" y="399"/>
                  </a:lnTo>
                  <a:lnTo>
                    <a:pt x="2359" y="457"/>
                  </a:lnTo>
                  <a:lnTo>
                    <a:pt x="2385" y="516"/>
                  </a:lnTo>
                  <a:lnTo>
                    <a:pt x="2401" y="578"/>
                  </a:lnTo>
                  <a:lnTo>
                    <a:pt x="2405" y="640"/>
                  </a:lnTo>
                  <a:lnTo>
                    <a:pt x="2401" y="704"/>
                  </a:lnTo>
                  <a:lnTo>
                    <a:pt x="2385" y="766"/>
                  </a:lnTo>
                  <a:lnTo>
                    <a:pt x="2359" y="825"/>
                  </a:lnTo>
                  <a:lnTo>
                    <a:pt x="2321" y="883"/>
                  </a:lnTo>
                  <a:lnTo>
                    <a:pt x="2275" y="937"/>
                  </a:lnTo>
                  <a:lnTo>
                    <a:pt x="842" y="2368"/>
                  </a:lnTo>
                  <a:lnTo>
                    <a:pt x="820" y="2386"/>
                  </a:lnTo>
                  <a:lnTo>
                    <a:pt x="794" y="2396"/>
                  </a:lnTo>
                  <a:lnTo>
                    <a:pt x="766" y="2400"/>
                  </a:lnTo>
                  <a:lnTo>
                    <a:pt x="110" y="2400"/>
                  </a:lnTo>
                  <a:lnTo>
                    <a:pt x="76" y="2394"/>
                  </a:lnTo>
                  <a:lnTo>
                    <a:pt x="44" y="2378"/>
                  </a:lnTo>
                  <a:lnTo>
                    <a:pt x="22" y="2356"/>
                  </a:lnTo>
                  <a:lnTo>
                    <a:pt x="6" y="2324"/>
                  </a:lnTo>
                  <a:lnTo>
                    <a:pt x="0" y="2290"/>
                  </a:lnTo>
                  <a:lnTo>
                    <a:pt x="0" y="1635"/>
                  </a:lnTo>
                  <a:lnTo>
                    <a:pt x="4" y="1607"/>
                  </a:lnTo>
                  <a:lnTo>
                    <a:pt x="14" y="1581"/>
                  </a:lnTo>
                  <a:lnTo>
                    <a:pt x="32" y="1559"/>
                  </a:lnTo>
                  <a:lnTo>
                    <a:pt x="1464" y="126"/>
                  </a:lnTo>
                  <a:lnTo>
                    <a:pt x="1518" y="82"/>
                  </a:lnTo>
                  <a:lnTo>
                    <a:pt x="1573" y="46"/>
                  </a:lnTo>
                  <a:lnTo>
                    <a:pt x="1635" y="20"/>
                  </a:lnTo>
                  <a:lnTo>
                    <a:pt x="1697" y="6"/>
                  </a:lnTo>
                  <a:lnTo>
                    <a:pt x="1761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1586" y="519"/>
              <a:ext cx="2623" cy="3278"/>
            </a:xfrm>
            <a:custGeom>
              <a:avLst/>
              <a:gdLst>
                <a:gd name="T0" fmla="*/ 4044 w 5247"/>
                <a:gd name="T1" fmla="*/ 0 h 6556"/>
                <a:gd name="T2" fmla="*/ 4100 w 5247"/>
                <a:gd name="T3" fmla="*/ 16 h 6556"/>
                <a:gd name="T4" fmla="*/ 5215 w 5247"/>
                <a:gd name="T5" fmla="*/ 1124 h 6556"/>
                <a:gd name="T6" fmla="*/ 5245 w 5247"/>
                <a:gd name="T7" fmla="*/ 1174 h 6556"/>
                <a:gd name="T8" fmla="*/ 5245 w 5247"/>
                <a:gd name="T9" fmla="*/ 1230 h 6556"/>
                <a:gd name="T10" fmla="*/ 5215 w 5247"/>
                <a:gd name="T11" fmla="*/ 1280 h 6556"/>
                <a:gd name="T12" fmla="*/ 5167 w 5247"/>
                <a:gd name="T13" fmla="*/ 1308 h 6556"/>
                <a:gd name="T14" fmla="*/ 5111 w 5247"/>
                <a:gd name="T15" fmla="*/ 1308 h 6556"/>
                <a:gd name="T16" fmla="*/ 5061 w 5247"/>
                <a:gd name="T17" fmla="*/ 1280 h 6556"/>
                <a:gd name="T18" fmla="*/ 546 w 5247"/>
                <a:gd name="T19" fmla="*/ 219 h 6556"/>
                <a:gd name="T20" fmla="*/ 433 w 5247"/>
                <a:gd name="T21" fmla="*/ 239 h 6556"/>
                <a:gd name="T22" fmla="*/ 337 w 5247"/>
                <a:gd name="T23" fmla="*/ 297 h 6556"/>
                <a:gd name="T24" fmla="*/ 265 w 5247"/>
                <a:gd name="T25" fmla="*/ 381 h 6556"/>
                <a:gd name="T26" fmla="*/ 225 w 5247"/>
                <a:gd name="T27" fmla="*/ 488 h 6556"/>
                <a:gd name="T28" fmla="*/ 219 w 5247"/>
                <a:gd name="T29" fmla="*/ 6010 h 6556"/>
                <a:gd name="T30" fmla="*/ 239 w 5247"/>
                <a:gd name="T31" fmla="*/ 6123 h 6556"/>
                <a:gd name="T32" fmla="*/ 297 w 5247"/>
                <a:gd name="T33" fmla="*/ 6221 h 6556"/>
                <a:gd name="T34" fmla="*/ 383 w 5247"/>
                <a:gd name="T35" fmla="*/ 6293 h 6556"/>
                <a:gd name="T36" fmla="*/ 489 w 5247"/>
                <a:gd name="T37" fmla="*/ 6333 h 6556"/>
                <a:gd name="T38" fmla="*/ 3390 w 5247"/>
                <a:gd name="T39" fmla="*/ 6337 h 6556"/>
                <a:gd name="T40" fmla="*/ 3454 w 5247"/>
                <a:gd name="T41" fmla="*/ 6359 h 6556"/>
                <a:gd name="T42" fmla="*/ 3494 w 5247"/>
                <a:gd name="T43" fmla="*/ 6413 h 6556"/>
                <a:gd name="T44" fmla="*/ 3494 w 5247"/>
                <a:gd name="T45" fmla="*/ 6480 h 6556"/>
                <a:gd name="T46" fmla="*/ 3454 w 5247"/>
                <a:gd name="T47" fmla="*/ 6534 h 6556"/>
                <a:gd name="T48" fmla="*/ 3390 w 5247"/>
                <a:gd name="T49" fmla="*/ 6556 h 6556"/>
                <a:gd name="T50" fmla="*/ 467 w 5247"/>
                <a:gd name="T51" fmla="*/ 6550 h 6556"/>
                <a:gd name="T52" fmla="*/ 317 w 5247"/>
                <a:gd name="T53" fmla="*/ 6504 h 6556"/>
                <a:gd name="T54" fmla="*/ 189 w 5247"/>
                <a:gd name="T55" fmla="*/ 6422 h 6556"/>
                <a:gd name="T56" fmla="*/ 90 w 5247"/>
                <a:gd name="T57" fmla="*/ 6307 h 6556"/>
                <a:gd name="T58" fmla="*/ 24 w 5247"/>
                <a:gd name="T59" fmla="*/ 6167 h 6556"/>
                <a:gd name="T60" fmla="*/ 0 w 5247"/>
                <a:gd name="T61" fmla="*/ 6010 h 6556"/>
                <a:gd name="T62" fmla="*/ 6 w 5247"/>
                <a:gd name="T63" fmla="*/ 466 h 6556"/>
                <a:gd name="T64" fmla="*/ 52 w 5247"/>
                <a:gd name="T65" fmla="*/ 317 h 6556"/>
                <a:gd name="T66" fmla="*/ 136 w 5247"/>
                <a:gd name="T67" fmla="*/ 189 h 6556"/>
                <a:gd name="T68" fmla="*/ 249 w 5247"/>
                <a:gd name="T69" fmla="*/ 88 h 6556"/>
                <a:gd name="T70" fmla="*/ 389 w 5247"/>
                <a:gd name="T71" fmla="*/ 24 h 6556"/>
                <a:gd name="T72" fmla="*/ 546 w 5247"/>
                <a:gd name="T73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7" h="6556">
                  <a:moveTo>
                    <a:pt x="546" y="0"/>
                  </a:moveTo>
                  <a:lnTo>
                    <a:pt x="4044" y="0"/>
                  </a:lnTo>
                  <a:lnTo>
                    <a:pt x="4074" y="4"/>
                  </a:lnTo>
                  <a:lnTo>
                    <a:pt x="4100" y="16"/>
                  </a:lnTo>
                  <a:lnTo>
                    <a:pt x="4122" y="32"/>
                  </a:lnTo>
                  <a:lnTo>
                    <a:pt x="5215" y="1124"/>
                  </a:lnTo>
                  <a:lnTo>
                    <a:pt x="5233" y="1148"/>
                  </a:lnTo>
                  <a:lnTo>
                    <a:pt x="5245" y="1174"/>
                  </a:lnTo>
                  <a:lnTo>
                    <a:pt x="5247" y="1202"/>
                  </a:lnTo>
                  <a:lnTo>
                    <a:pt x="5245" y="1230"/>
                  </a:lnTo>
                  <a:lnTo>
                    <a:pt x="5233" y="1256"/>
                  </a:lnTo>
                  <a:lnTo>
                    <a:pt x="5215" y="1280"/>
                  </a:lnTo>
                  <a:lnTo>
                    <a:pt x="5193" y="1298"/>
                  </a:lnTo>
                  <a:lnTo>
                    <a:pt x="5167" y="1308"/>
                  </a:lnTo>
                  <a:lnTo>
                    <a:pt x="5139" y="1312"/>
                  </a:lnTo>
                  <a:lnTo>
                    <a:pt x="5111" y="1308"/>
                  </a:lnTo>
                  <a:lnTo>
                    <a:pt x="5085" y="1298"/>
                  </a:lnTo>
                  <a:lnTo>
                    <a:pt x="5061" y="1280"/>
                  </a:lnTo>
                  <a:lnTo>
                    <a:pt x="4000" y="219"/>
                  </a:lnTo>
                  <a:lnTo>
                    <a:pt x="546" y="219"/>
                  </a:lnTo>
                  <a:lnTo>
                    <a:pt x="489" y="223"/>
                  </a:lnTo>
                  <a:lnTo>
                    <a:pt x="433" y="239"/>
                  </a:lnTo>
                  <a:lnTo>
                    <a:pt x="383" y="263"/>
                  </a:lnTo>
                  <a:lnTo>
                    <a:pt x="337" y="297"/>
                  </a:lnTo>
                  <a:lnTo>
                    <a:pt x="297" y="335"/>
                  </a:lnTo>
                  <a:lnTo>
                    <a:pt x="265" y="381"/>
                  </a:lnTo>
                  <a:lnTo>
                    <a:pt x="239" y="433"/>
                  </a:lnTo>
                  <a:lnTo>
                    <a:pt x="225" y="488"/>
                  </a:lnTo>
                  <a:lnTo>
                    <a:pt x="219" y="546"/>
                  </a:lnTo>
                  <a:lnTo>
                    <a:pt x="219" y="6010"/>
                  </a:lnTo>
                  <a:lnTo>
                    <a:pt x="225" y="6068"/>
                  </a:lnTo>
                  <a:lnTo>
                    <a:pt x="239" y="6123"/>
                  </a:lnTo>
                  <a:lnTo>
                    <a:pt x="265" y="6175"/>
                  </a:lnTo>
                  <a:lnTo>
                    <a:pt x="297" y="6221"/>
                  </a:lnTo>
                  <a:lnTo>
                    <a:pt x="337" y="6261"/>
                  </a:lnTo>
                  <a:lnTo>
                    <a:pt x="383" y="6293"/>
                  </a:lnTo>
                  <a:lnTo>
                    <a:pt x="433" y="6317"/>
                  </a:lnTo>
                  <a:lnTo>
                    <a:pt x="489" y="6333"/>
                  </a:lnTo>
                  <a:lnTo>
                    <a:pt x="546" y="6337"/>
                  </a:lnTo>
                  <a:lnTo>
                    <a:pt x="3390" y="6337"/>
                  </a:lnTo>
                  <a:lnTo>
                    <a:pt x="3424" y="6343"/>
                  </a:lnTo>
                  <a:lnTo>
                    <a:pt x="3454" y="6359"/>
                  </a:lnTo>
                  <a:lnTo>
                    <a:pt x="3478" y="6383"/>
                  </a:lnTo>
                  <a:lnTo>
                    <a:pt x="3494" y="6413"/>
                  </a:lnTo>
                  <a:lnTo>
                    <a:pt x="3498" y="6446"/>
                  </a:lnTo>
                  <a:lnTo>
                    <a:pt x="3494" y="6480"/>
                  </a:lnTo>
                  <a:lnTo>
                    <a:pt x="3478" y="6512"/>
                  </a:lnTo>
                  <a:lnTo>
                    <a:pt x="3454" y="6534"/>
                  </a:lnTo>
                  <a:lnTo>
                    <a:pt x="3424" y="6550"/>
                  </a:lnTo>
                  <a:lnTo>
                    <a:pt x="3390" y="6556"/>
                  </a:lnTo>
                  <a:lnTo>
                    <a:pt x="546" y="6556"/>
                  </a:lnTo>
                  <a:lnTo>
                    <a:pt x="467" y="6550"/>
                  </a:lnTo>
                  <a:lnTo>
                    <a:pt x="389" y="6532"/>
                  </a:lnTo>
                  <a:lnTo>
                    <a:pt x="317" y="6504"/>
                  </a:lnTo>
                  <a:lnTo>
                    <a:pt x="249" y="6468"/>
                  </a:lnTo>
                  <a:lnTo>
                    <a:pt x="189" y="6422"/>
                  </a:lnTo>
                  <a:lnTo>
                    <a:pt x="136" y="6369"/>
                  </a:lnTo>
                  <a:lnTo>
                    <a:pt x="90" y="6307"/>
                  </a:lnTo>
                  <a:lnTo>
                    <a:pt x="52" y="6239"/>
                  </a:lnTo>
                  <a:lnTo>
                    <a:pt x="24" y="6167"/>
                  </a:lnTo>
                  <a:lnTo>
                    <a:pt x="6" y="6090"/>
                  </a:lnTo>
                  <a:lnTo>
                    <a:pt x="0" y="6010"/>
                  </a:lnTo>
                  <a:lnTo>
                    <a:pt x="0" y="546"/>
                  </a:lnTo>
                  <a:lnTo>
                    <a:pt x="6" y="466"/>
                  </a:lnTo>
                  <a:lnTo>
                    <a:pt x="24" y="389"/>
                  </a:lnTo>
                  <a:lnTo>
                    <a:pt x="52" y="317"/>
                  </a:lnTo>
                  <a:lnTo>
                    <a:pt x="90" y="249"/>
                  </a:lnTo>
                  <a:lnTo>
                    <a:pt x="136" y="189"/>
                  </a:lnTo>
                  <a:lnTo>
                    <a:pt x="189" y="136"/>
                  </a:lnTo>
                  <a:lnTo>
                    <a:pt x="249" y="88"/>
                  </a:lnTo>
                  <a:lnTo>
                    <a:pt x="317" y="52"/>
                  </a:lnTo>
                  <a:lnTo>
                    <a:pt x="389" y="24"/>
                  </a:lnTo>
                  <a:lnTo>
                    <a:pt x="467" y="6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2788" y="3141"/>
              <a:ext cx="547" cy="110"/>
            </a:xfrm>
            <a:custGeom>
              <a:avLst/>
              <a:gdLst>
                <a:gd name="T0" fmla="*/ 110 w 1093"/>
                <a:gd name="T1" fmla="*/ 0 h 220"/>
                <a:gd name="T2" fmla="*/ 985 w 1093"/>
                <a:gd name="T3" fmla="*/ 0 h 220"/>
                <a:gd name="T4" fmla="*/ 1019 w 1093"/>
                <a:gd name="T5" fmla="*/ 6 h 220"/>
                <a:gd name="T6" fmla="*/ 1049 w 1093"/>
                <a:gd name="T7" fmla="*/ 22 h 220"/>
                <a:gd name="T8" fmla="*/ 1073 w 1093"/>
                <a:gd name="T9" fmla="*/ 46 h 220"/>
                <a:gd name="T10" fmla="*/ 1089 w 1093"/>
                <a:gd name="T11" fmla="*/ 76 h 220"/>
                <a:gd name="T12" fmla="*/ 1093 w 1093"/>
                <a:gd name="T13" fmla="*/ 110 h 220"/>
                <a:gd name="T14" fmla="*/ 1089 w 1093"/>
                <a:gd name="T15" fmla="*/ 144 h 220"/>
                <a:gd name="T16" fmla="*/ 1073 w 1093"/>
                <a:gd name="T17" fmla="*/ 174 h 220"/>
                <a:gd name="T18" fmla="*/ 1049 w 1093"/>
                <a:gd name="T19" fmla="*/ 198 h 220"/>
                <a:gd name="T20" fmla="*/ 1019 w 1093"/>
                <a:gd name="T21" fmla="*/ 214 h 220"/>
                <a:gd name="T22" fmla="*/ 985 w 1093"/>
                <a:gd name="T23" fmla="*/ 220 h 220"/>
                <a:gd name="T24" fmla="*/ 110 w 1093"/>
                <a:gd name="T25" fmla="*/ 220 h 220"/>
                <a:gd name="T26" fmla="*/ 76 w 1093"/>
                <a:gd name="T27" fmla="*/ 214 h 220"/>
                <a:gd name="T28" fmla="*/ 46 w 1093"/>
                <a:gd name="T29" fmla="*/ 198 h 220"/>
                <a:gd name="T30" fmla="*/ 22 w 1093"/>
                <a:gd name="T31" fmla="*/ 174 h 220"/>
                <a:gd name="T32" fmla="*/ 6 w 1093"/>
                <a:gd name="T33" fmla="*/ 144 h 220"/>
                <a:gd name="T34" fmla="*/ 0 w 1093"/>
                <a:gd name="T35" fmla="*/ 110 h 220"/>
                <a:gd name="T36" fmla="*/ 6 w 1093"/>
                <a:gd name="T37" fmla="*/ 76 h 220"/>
                <a:gd name="T38" fmla="*/ 22 w 1093"/>
                <a:gd name="T39" fmla="*/ 46 h 220"/>
                <a:gd name="T40" fmla="*/ 46 w 1093"/>
                <a:gd name="T41" fmla="*/ 22 h 220"/>
                <a:gd name="T42" fmla="*/ 76 w 1093"/>
                <a:gd name="T43" fmla="*/ 6 h 220"/>
                <a:gd name="T44" fmla="*/ 110 w 1093"/>
                <a:gd name="T45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93" h="220">
                  <a:moveTo>
                    <a:pt x="110" y="0"/>
                  </a:moveTo>
                  <a:lnTo>
                    <a:pt x="985" y="0"/>
                  </a:lnTo>
                  <a:lnTo>
                    <a:pt x="1019" y="6"/>
                  </a:lnTo>
                  <a:lnTo>
                    <a:pt x="1049" y="22"/>
                  </a:lnTo>
                  <a:lnTo>
                    <a:pt x="1073" y="46"/>
                  </a:lnTo>
                  <a:lnTo>
                    <a:pt x="1089" y="76"/>
                  </a:lnTo>
                  <a:lnTo>
                    <a:pt x="1093" y="110"/>
                  </a:lnTo>
                  <a:lnTo>
                    <a:pt x="1089" y="144"/>
                  </a:lnTo>
                  <a:lnTo>
                    <a:pt x="1073" y="174"/>
                  </a:lnTo>
                  <a:lnTo>
                    <a:pt x="1049" y="198"/>
                  </a:lnTo>
                  <a:lnTo>
                    <a:pt x="1019" y="214"/>
                  </a:lnTo>
                  <a:lnTo>
                    <a:pt x="985" y="220"/>
                  </a:lnTo>
                  <a:lnTo>
                    <a:pt x="110" y="220"/>
                  </a:lnTo>
                  <a:lnTo>
                    <a:pt x="76" y="214"/>
                  </a:lnTo>
                  <a:lnTo>
                    <a:pt x="46" y="198"/>
                  </a:lnTo>
                  <a:lnTo>
                    <a:pt x="22" y="174"/>
                  </a:lnTo>
                  <a:lnTo>
                    <a:pt x="6" y="144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9"/>
            <p:cNvSpPr>
              <a:spLocks noEditPoints="1"/>
            </p:cNvSpPr>
            <p:nvPr/>
          </p:nvSpPr>
          <p:spPr bwMode="auto">
            <a:xfrm>
              <a:off x="2133" y="1503"/>
              <a:ext cx="437" cy="436"/>
            </a:xfrm>
            <a:custGeom>
              <a:avLst/>
              <a:gdLst>
                <a:gd name="T0" fmla="*/ 217 w 873"/>
                <a:gd name="T1" fmla="*/ 218 h 873"/>
                <a:gd name="T2" fmla="*/ 217 w 873"/>
                <a:gd name="T3" fmla="*/ 656 h 873"/>
                <a:gd name="T4" fmla="*/ 654 w 873"/>
                <a:gd name="T5" fmla="*/ 656 h 873"/>
                <a:gd name="T6" fmla="*/ 654 w 873"/>
                <a:gd name="T7" fmla="*/ 218 h 873"/>
                <a:gd name="T8" fmla="*/ 217 w 873"/>
                <a:gd name="T9" fmla="*/ 218 h 873"/>
                <a:gd name="T10" fmla="*/ 107 w 873"/>
                <a:gd name="T11" fmla="*/ 0 h 873"/>
                <a:gd name="T12" fmla="*/ 764 w 873"/>
                <a:gd name="T13" fmla="*/ 0 h 873"/>
                <a:gd name="T14" fmla="*/ 799 w 873"/>
                <a:gd name="T15" fmla="*/ 6 h 873"/>
                <a:gd name="T16" fmla="*/ 829 w 873"/>
                <a:gd name="T17" fmla="*/ 20 h 873"/>
                <a:gd name="T18" fmla="*/ 851 w 873"/>
                <a:gd name="T19" fmla="*/ 44 h 873"/>
                <a:gd name="T20" fmla="*/ 867 w 873"/>
                <a:gd name="T21" fmla="*/ 74 h 873"/>
                <a:gd name="T22" fmla="*/ 873 w 873"/>
                <a:gd name="T23" fmla="*/ 110 h 873"/>
                <a:gd name="T24" fmla="*/ 873 w 873"/>
                <a:gd name="T25" fmla="*/ 766 h 873"/>
                <a:gd name="T26" fmla="*/ 867 w 873"/>
                <a:gd name="T27" fmla="*/ 800 h 873"/>
                <a:gd name="T28" fmla="*/ 851 w 873"/>
                <a:gd name="T29" fmla="*/ 830 h 873"/>
                <a:gd name="T30" fmla="*/ 829 w 873"/>
                <a:gd name="T31" fmla="*/ 854 h 873"/>
                <a:gd name="T32" fmla="*/ 799 w 873"/>
                <a:gd name="T33" fmla="*/ 869 h 873"/>
                <a:gd name="T34" fmla="*/ 764 w 873"/>
                <a:gd name="T35" fmla="*/ 873 h 873"/>
                <a:gd name="T36" fmla="*/ 107 w 873"/>
                <a:gd name="T37" fmla="*/ 873 h 873"/>
                <a:gd name="T38" fmla="*/ 74 w 873"/>
                <a:gd name="T39" fmla="*/ 869 h 873"/>
                <a:gd name="T40" fmla="*/ 44 w 873"/>
                <a:gd name="T41" fmla="*/ 854 h 873"/>
                <a:gd name="T42" fmla="*/ 20 w 873"/>
                <a:gd name="T43" fmla="*/ 830 h 873"/>
                <a:gd name="T44" fmla="*/ 4 w 873"/>
                <a:gd name="T45" fmla="*/ 800 h 873"/>
                <a:gd name="T46" fmla="*/ 0 w 873"/>
                <a:gd name="T47" fmla="*/ 766 h 873"/>
                <a:gd name="T48" fmla="*/ 0 w 873"/>
                <a:gd name="T49" fmla="*/ 110 h 873"/>
                <a:gd name="T50" fmla="*/ 4 w 873"/>
                <a:gd name="T51" fmla="*/ 74 h 873"/>
                <a:gd name="T52" fmla="*/ 20 w 873"/>
                <a:gd name="T53" fmla="*/ 44 h 873"/>
                <a:gd name="T54" fmla="*/ 44 w 873"/>
                <a:gd name="T55" fmla="*/ 20 h 873"/>
                <a:gd name="T56" fmla="*/ 74 w 873"/>
                <a:gd name="T57" fmla="*/ 6 h 873"/>
                <a:gd name="T58" fmla="*/ 107 w 873"/>
                <a:gd name="T59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3">
                  <a:moveTo>
                    <a:pt x="217" y="218"/>
                  </a:moveTo>
                  <a:lnTo>
                    <a:pt x="217" y="656"/>
                  </a:lnTo>
                  <a:lnTo>
                    <a:pt x="654" y="656"/>
                  </a:lnTo>
                  <a:lnTo>
                    <a:pt x="654" y="218"/>
                  </a:lnTo>
                  <a:lnTo>
                    <a:pt x="217" y="218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0"/>
                  </a:lnTo>
                  <a:lnTo>
                    <a:pt x="851" y="44"/>
                  </a:lnTo>
                  <a:lnTo>
                    <a:pt x="867" y="74"/>
                  </a:lnTo>
                  <a:lnTo>
                    <a:pt x="873" y="110"/>
                  </a:lnTo>
                  <a:lnTo>
                    <a:pt x="873" y="766"/>
                  </a:lnTo>
                  <a:lnTo>
                    <a:pt x="867" y="800"/>
                  </a:lnTo>
                  <a:lnTo>
                    <a:pt x="851" y="830"/>
                  </a:lnTo>
                  <a:lnTo>
                    <a:pt x="829" y="854"/>
                  </a:lnTo>
                  <a:lnTo>
                    <a:pt x="799" y="869"/>
                  </a:lnTo>
                  <a:lnTo>
                    <a:pt x="764" y="873"/>
                  </a:lnTo>
                  <a:lnTo>
                    <a:pt x="107" y="873"/>
                  </a:lnTo>
                  <a:lnTo>
                    <a:pt x="74" y="869"/>
                  </a:lnTo>
                  <a:lnTo>
                    <a:pt x="44" y="854"/>
                  </a:lnTo>
                  <a:lnTo>
                    <a:pt x="20" y="830"/>
                  </a:lnTo>
                  <a:lnTo>
                    <a:pt x="4" y="800"/>
                  </a:lnTo>
                  <a:lnTo>
                    <a:pt x="0" y="766"/>
                  </a:lnTo>
                  <a:lnTo>
                    <a:pt x="0" y="110"/>
                  </a:lnTo>
                  <a:lnTo>
                    <a:pt x="4" y="74"/>
                  </a:lnTo>
                  <a:lnTo>
                    <a:pt x="20" y="44"/>
                  </a:lnTo>
                  <a:lnTo>
                    <a:pt x="44" y="20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0"/>
            <p:cNvSpPr>
              <a:spLocks noEditPoints="1"/>
            </p:cNvSpPr>
            <p:nvPr/>
          </p:nvSpPr>
          <p:spPr bwMode="auto">
            <a:xfrm>
              <a:off x="2133" y="2813"/>
              <a:ext cx="437" cy="438"/>
            </a:xfrm>
            <a:custGeom>
              <a:avLst/>
              <a:gdLst>
                <a:gd name="T0" fmla="*/ 217 w 873"/>
                <a:gd name="T1" fmla="*/ 219 h 875"/>
                <a:gd name="T2" fmla="*/ 217 w 873"/>
                <a:gd name="T3" fmla="*/ 655 h 875"/>
                <a:gd name="T4" fmla="*/ 654 w 873"/>
                <a:gd name="T5" fmla="*/ 655 h 875"/>
                <a:gd name="T6" fmla="*/ 654 w 873"/>
                <a:gd name="T7" fmla="*/ 219 h 875"/>
                <a:gd name="T8" fmla="*/ 217 w 873"/>
                <a:gd name="T9" fmla="*/ 219 h 875"/>
                <a:gd name="T10" fmla="*/ 107 w 873"/>
                <a:gd name="T11" fmla="*/ 0 h 875"/>
                <a:gd name="T12" fmla="*/ 764 w 873"/>
                <a:gd name="T13" fmla="*/ 0 h 875"/>
                <a:gd name="T14" fmla="*/ 799 w 873"/>
                <a:gd name="T15" fmla="*/ 6 h 875"/>
                <a:gd name="T16" fmla="*/ 829 w 873"/>
                <a:gd name="T17" fmla="*/ 22 h 875"/>
                <a:gd name="T18" fmla="*/ 851 w 873"/>
                <a:gd name="T19" fmla="*/ 45 h 875"/>
                <a:gd name="T20" fmla="*/ 867 w 873"/>
                <a:gd name="T21" fmla="*/ 75 h 875"/>
                <a:gd name="T22" fmla="*/ 873 w 873"/>
                <a:gd name="T23" fmla="*/ 109 h 875"/>
                <a:gd name="T24" fmla="*/ 873 w 873"/>
                <a:gd name="T25" fmla="*/ 765 h 875"/>
                <a:gd name="T26" fmla="*/ 867 w 873"/>
                <a:gd name="T27" fmla="*/ 799 h 875"/>
                <a:gd name="T28" fmla="*/ 851 w 873"/>
                <a:gd name="T29" fmla="*/ 829 h 875"/>
                <a:gd name="T30" fmla="*/ 829 w 873"/>
                <a:gd name="T31" fmla="*/ 853 h 875"/>
                <a:gd name="T32" fmla="*/ 799 w 873"/>
                <a:gd name="T33" fmla="*/ 869 h 875"/>
                <a:gd name="T34" fmla="*/ 764 w 873"/>
                <a:gd name="T35" fmla="*/ 875 h 875"/>
                <a:gd name="T36" fmla="*/ 107 w 873"/>
                <a:gd name="T37" fmla="*/ 875 h 875"/>
                <a:gd name="T38" fmla="*/ 74 w 873"/>
                <a:gd name="T39" fmla="*/ 869 h 875"/>
                <a:gd name="T40" fmla="*/ 44 w 873"/>
                <a:gd name="T41" fmla="*/ 853 h 875"/>
                <a:gd name="T42" fmla="*/ 20 w 873"/>
                <a:gd name="T43" fmla="*/ 829 h 875"/>
                <a:gd name="T44" fmla="*/ 4 w 873"/>
                <a:gd name="T45" fmla="*/ 799 h 875"/>
                <a:gd name="T46" fmla="*/ 0 w 873"/>
                <a:gd name="T47" fmla="*/ 765 h 875"/>
                <a:gd name="T48" fmla="*/ 0 w 873"/>
                <a:gd name="T49" fmla="*/ 109 h 875"/>
                <a:gd name="T50" fmla="*/ 4 w 873"/>
                <a:gd name="T51" fmla="*/ 75 h 875"/>
                <a:gd name="T52" fmla="*/ 20 w 873"/>
                <a:gd name="T53" fmla="*/ 45 h 875"/>
                <a:gd name="T54" fmla="*/ 44 w 873"/>
                <a:gd name="T55" fmla="*/ 22 h 875"/>
                <a:gd name="T56" fmla="*/ 74 w 873"/>
                <a:gd name="T57" fmla="*/ 6 h 875"/>
                <a:gd name="T58" fmla="*/ 107 w 873"/>
                <a:gd name="T59" fmla="*/ 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3" h="875">
                  <a:moveTo>
                    <a:pt x="217" y="219"/>
                  </a:moveTo>
                  <a:lnTo>
                    <a:pt x="217" y="655"/>
                  </a:lnTo>
                  <a:lnTo>
                    <a:pt x="654" y="655"/>
                  </a:lnTo>
                  <a:lnTo>
                    <a:pt x="654" y="219"/>
                  </a:lnTo>
                  <a:lnTo>
                    <a:pt x="217" y="219"/>
                  </a:lnTo>
                  <a:close/>
                  <a:moveTo>
                    <a:pt x="107" y="0"/>
                  </a:moveTo>
                  <a:lnTo>
                    <a:pt x="764" y="0"/>
                  </a:lnTo>
                  <a:lnTo>
                    <a:pt x="799" y="6"/>
                  </a:lnTo>
                  <a:lnTo>
                    <a:pt x="829" y="22"/>
                  </a:lnTo>
                  <a:lnTo>
                    <a:pt x="851" y="45"/>
                  </a:lnTo>
                  <a:lnTo>
                    <a:pt x="867" y="75"/>
                  </a:lnTo>
                  <a:lnTo>
                    <a:pt x="873" y="109"/>
                  </a:lnTo>
                  <a:lnTo>
                    <a:pt x="873" y="765"/>
                  </a:lnTo>
                  <a:lnTo>
                    <a:pt x="867" y="799"/>
                  </a:lnTo>
                  <a:lnTo>
                    <a:pt x="851" y="829"/>
                  </a:lnTo>
                  <a:lnTo>
                    <a:pt x="829" y="853"/>
                  </a:lnTo>
                  <a:lnTo>
                    <a:pt x="799" y="869"/>
                  </a:lnTo>
                  <a:lnTo>
                    <a:pt x="764" y="875"/>
                  </a:lnTo>
                  <a:lnTo>
                    <a:pt x="107" y="875"/>
                  </a:lnTo>
                  <a:lnTo>
                    <a:pt x="74" y="869"/>
                  </a:lnTo>
                  <a:lnTo>
                    <a:pt x="44" y="853"/>
                  </a:lnTo>
                  <a:lnTo>
                    <a:pt x="20" y="829"/>
                  </a:lnTo>
                  <a:lnTo>
                    <a:pt x="4" y="799"/>
                  </a:lnTo>
                  <a:lnTo>
                    <a:pt x="0" y="765"/>
                  </a:lnTo>
                  <a:lnTo>
                    <a:pt x="0" y="109"/>
                  </a:lnTo>
                  <a:lnTo>
                    <a:pt x="4" y="75"/>
                  </a:lnTo>
                  <a:lnTo>
                    <a:pt x="20" y="45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1"/>
            <p:cNvSpPr>
              <a:spLocks/>
            </p:cNvSpPr>
            <p:nvPr/>
          </p:nvSpPr>
          <p:spPr bwMode="auto">
            <a:xfrm>
              <a:off x="2133" y="2159"/>
              <a:ext cx="437" cy="436"/>
            </a:xfrm>
            <a:custGeom>
              <a:avLst/>
              <a:gdLst>
                <a:gd name="T0" fmla="*/ 770 w 873"/>
                <a:gd name="T1" fmla="*/ 0 h 873"/>
                <a:gd name="T2" fmla="*/ 797 w 873"/>
                <a:gd name="T3" fmla="*/ 4 h 873"/>
                <a:gd name="T4" fmla="*/ 825 w 873"/>
                <a:gd name="T5" fmla="*/ 18 h 873"/>
                <a:gd name="T6" fmla="*/ 847 w 873"/>
                <a:gd name="T7" fmla="*/ 36 h 873"/>
                <a:gd name="T8" fmla="*/ 861 w 873"/>
                <a:gd name="T9" fmla="*/ 60 h 873"/>
                <a:gd name="T10" fmla="*/ 871 w 873"/>
                <a:gd name="T11" fmla="*/ 88 h 873"/>
                <a:gd name="T12" fmla="*/ 873 w 873"/>
                <a:gd name="T13" fmla="*/ 116 h 873"/>
                <a:gd name="T14" fmla="*/ 867 w 873"/>
                <a:gd name="T15" fmla="*/ 144 h 873"/>
                <a:gd name="T16" fmla="*/ 855 w 873"/>
                <a:gd name="T17" fmla="*/ 169 h 873"/>
                <a:gd name="T18" fmla="*/ 419 w 873"/>
                <a:gd name="T19" fmla="*/ 825 h 873"/>
                <a:gd name="T20" fmla="*/ 397 w 873"/>
                <a:gd name="T21" fmla="*/ 849 h 873"/>
                <a:gd name="T22" fmla="*/ 369 w 873"/>
                <a:gd name="T23" fmla="*/ 865 h 873"/>
                <a:gd name="T24" fmla="*/ 337 w 873"/>
                <a:gd name="T25" fmla="*/ 873 h 873"/>
                <a:gd name="T26" fmla="*/ 327 w 873"/>
                <a:gd name="T27" fmla="*/ 873 h 873"/>
                <a:gd name="T28" fmla="*/ 299 w 873"/>
                <a:gd name="T29" fmla="*/ 869 h 873"/>
                <a:gd name="T30" fmla="*/ 273 w 873"/>
                <a:gd name="T31" fmla="*/ 859 h 873"/>
                <a:gd name="T32" fmla="*/ 249 w 873"/>
                <a:gd name="T33" fmla="*/ 841 h 873"/>
                <a:gd name="T34" fmla="*/ 32 w 873"/>
                <a:gd name="T35" fmla="*/ 622 h 873"/>
                <a:gd name="T36" fmla="*/ 14 w 873"/>
                <a:gd name="T37" fmla="*/ 600 h 873"/>
                <a:gd name="T38" fmla="*/ 2 w 873"/>
                <a:gd name="T39" fmla="*/ 574 h 873"/>
                <a:gd name="T40" fmla="*/ 0 w 873"/>
                <a:gd name="T41" fmla="*/ 546 h 873"/>
                <a:gd name="T42" fmla="*/ 2 w 873"/>
                <a:gd name="T43" fmla="*/ 518 h 873"/>
                <a:gd name="T44" fmla="*/ 14 w 873"/>
                <a:gd name="T45" fmla="*/ 492 h 873"/>
                <a:gd name="T46" fmla="*/ 32 w 873"/>
                <a:gd name="T47" fmla="*/ 468 h 873"/>
                <a:gd name="T48" fmla="*/ 54 w 873"/>
                <a:gd name="T49" fmla="*/ 451 h 873"/>
                <a:gd name="T50" fmla="*/ 80 w 873"/>
                <a:gd name="T51" fmla="*/ 441 h 873"/>
                <a:gd name="T52" fmla="*/ 107 w 873"/>
                <a:gd name="T53" fmla="*/ 437 h 873"/>
                <a:gd name="T54" fmla="*/ 135 w 873"/>
                <a:gd name="T55" fmla="*/ 441 h 873"/>
                <a:gd name="T56" fmla="*/ 161 w 873"/>
                <a:gd name="T57" fmla="*/ 451 h 873"/>
                <a:gd name="T58" fmla="*/ 185 w 873"/>
                <a:gd name="T59" fmla="*/ 468 h 873"/>
                <a:gd name="T60" fmla="*/ 309 w 873"/>
                <a:gd name="T61" fmla="*/ 592 h 873"/>
                <a:gd name="T62" fmla="*/ 674 w 873"/>
                <a:gd name="T63" fmla="*/ 48 h 873"/>
                <a:gd name="T64" fmla="*/ 692 w 873"/>
                <a:gd name="T65" fmla="*/ 26 h 873"/>
                <a:gd name="T66" fmla="*/ 716 w 873"/>
                <a:gd name="T67" fmla="*/ 10 h 873"/>
                <a:gd name="T68" fmla="*/ 742 w 873"/>
                <a:gd name="T69" fmla="*/ 2 h 873"/>
                <a:gd name="T70" fmla="*/ 770 w 873"/>
                <a:gd name="T7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3" h="873">
                  <a:moveTo>
                    <a:pt x="770" y="0"/>
                  </a:moveTo>
                  <a:lnTo>
                    <a:pt x="797" y="4"/>
                  </a:lnTo>
                  <a:lnTo>
                    <a:pt x="825" y="18"/>
                  </a:lnTo>
                  <a:lnTo>
                    <a:pt x="847" y="36"/>
                  </a:lnTo>
                  <a:lnTo>
                    <a:pt x="861" y="60"/>
                  </a:lnTo>
                  <a:lnTo>
                    <a:pt x="871" y="88"/>
                  </a:lnTo>
                  <a:lnTo>
                    <a:pt x="873" y="116"/>
                  </a:lnTo>
                  <a:lnTo>
                    <a:pt x="867" y="144"/>
                  </a:lnTo>
                  <a:lnTo>
                    <a:pt x="855" y="169"/>
                  </a:lnTo>
                  <a:lnTo>
                    <a:pt x="419" y="825"/>
                  </a:lnTo>
                  <a:lnTo>
                    <a:pt x="397" y="849"/>
                  </a:lnTo>
                  <a:lnTo>
                    <a:pt x="369" y="865"/>
                  </a:lnTo>
                  <a:lnTo>
                    <a:pt x="337" y="873"/>
                  </a:lnTo>
                  <a:lnTo>
                    <a:pt x="327" y="873"/>
                  </a:lnTo>
                  <a:lnTo>
                    <a:pt x="299" y="869"/>
                  </a:lnTo>
                  <a:lnTo>
                    <a:pt x="273" y="859"/>
                  </a:lnTo>
                  <a:lnTo>
                    <a:pt x="249" y="841"/>
                  </a:lnTo>
                  <a:lnTo>
                    <a:pt x="32" y="622"/>
                  </a:lnTo>
                  <a:lnTo>
                    <a:pt x="14" y="600"/>
                  </a:lnTo>
                  <a:lnTo>
                    <a:pt x="2" y="574"/>
                  </a:lnTo>
                  <a:lnTo>
                    <a:pt x="0" y="546"/>
                  </a:lnTo>
                  <a:lnTo>
                    <a:pt x="2" y="518"/>
                  </a:lnTo>
                  <a:lnTo>
                    <a:pt x="14" y="492"/>
                  </a:lnTo>
                  <a:lnTo>
                    <a:pt x="32" y="468"/>
                  </a:lnTo>
                  <a:lnTo>
                    <a:pt x="54" y="451"/>
                  </a:lnTo>
                  <a:lnTo>
                    <a:pt x="80" y="441"/>
                  </a:lnTo>
                  <a:lnTo>
                    <a:pt x="107" y="437"/>
                  </a:lnTo>
                  <a:lnTo>
                    <a:pt x="135" y="441"/>
                  </a:lnTo>
                  <a:lnTo>
                    <a:pt x="161" y="451"/>
                  </a:lnTo>
                  <a:lnTo>
                    <a:pt x="185" y="468"/>
                  </a:lnTo>
                  <a:lnTo>
                    <a:pt x="309" y="592"/>
                  </a:lnTo>
                  <a:lnTo>
                    <a:pt x="674" y="48"/>
                  </a:lnTo>
                  <a:lnTo>
                    <a:pt x="692" y="26"/>
                  </a:lnTo>
                  <a:lnTo>
                    <a:pt x="716" y="10"/>
                  </a:lnTo>
                  <a:lnTo>
                    <a:pt x="742" y="2"/>
                  </a:lnTo>
                  <a:lnTo>
                    <a:pt x="770" y="0"/>
                  </a:lnTo>
                  <a:close/>
                </a:path>
              </a:pathLst>
            </a:custGeom>
            <a:grpFill/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741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568050"/>
            <a:ext cx="9144000" cy="736822"/>
          </a:xfrm>
          <a:solidFill>
            <a:schemeClr val="accent5"/>
          </a:solidFill>
        </p:spPr>
        <p:txBody>
          <a:bodyPr anchor="ctr"/>
          <a:lstStyle/>
          <a:p>
            <a:pPr algn="ctr"/>
            <a:r>
              <a:rPr lang="cs-CZ" dirty="0" err="1" smtClean="0">
                <a:solidFill>
                  <a:schemeClr val="bg1"/>
                </a:solidFill>
              </a:rPr>
              <a:t>Development</a:t>
            </a:r>
            <a:r>
              <a:rPr lang="cs-CZ" dirty="0" smtClean="0">
                <a:solidFill>
                  <a:schemeClr val="bg1"/>
                </a:solidFill>
              </a:rPr>
              <a:t> update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02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9D&quot; g=&quot;CA&quot; b=&quot;A5&quot;/&gt;&lt;m_nBrightness val=&quot;0&quot;/&gt;&lt;/elem&gt;&lt;elem m_fUsage=&quot;9.00000000000000020000E-001&quot;&gt;&lt;m_msothmcolidx val=&quot;0&quot;/&gt;&lt;m_rgb r=&quot;4A&quot; g=&quot;7C&quot; b=&quot;C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qlpvKdTe63nOdcsBeX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DxLJ8SnSAvSraKwHn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3bsnfREyOslu6yozV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qHPqSkQEuCLig2bskj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8cJQtRc2Bke_zN48v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PXCYdQYaAiNgpG0p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RwAOeiSdmUJCWxfulJ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ppPObSYOgvDvYy6Ui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ln5OreTLaeSzbdLj_29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G4c1ETlipRuj1ggiS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AIznqTrmuPZlchV6r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kbXp6QbCsioVB2R2T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xPqbIyRuKXe2Pg8Dlrx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2na_mRq6EFH.G1DV8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iIbb0pTCee9eMuHfJ3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X9vJFREi3KHqdXCDw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_Co4tQpe9IoaJfoxF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VBRpf2Se.02Xnamfy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fytDGRSuWmWzeRka1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d9DVgTYef0ZuNwilQ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a9Aa6SsS.MsBCSg2_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7Y8y4TyCywlPGnbm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CmYWHQk24wV41OCay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CIDe4QEm29JW1U06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2_m94USoWB9LEmMqH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SXttzSXevQ8E0fVqd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e4YnEQDCvAPDc9nNM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4tu0AcQRO5S6GG9sry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kH6tWQR2jy6UKt7MB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6FzF59T5urBhaZxYI0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1fLpG3QQyUB3jsuhQa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aYEcfQ.S8YrGpveqU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2F7mwTqCNk4qxAMWS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H9FkvQMuzNpWiiGPQ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KexX8eRvSy43cKyOgq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Ri4NQTbucaxm1Sbez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DOn_qSBqBFHkzzTA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u5qQbTJu2JarN3Qa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FzSh7Rf.tKewYdsi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9JXvkNSmS0v4VqFI3M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qXBRr4SaWWH03udNO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MfQ2ARQ2ZjvFF5VVi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_9s_PQvOQJTdAPTXQ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2YnTjpTGGzWpXcuYwm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8uPpTRVaooVBghxMk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VQ73uQbG33oxTIgvj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QKK78HTSmyvRflyRXo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9iG.x5TbyDP0oNpZ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GvVHwTv.0cPSPrZjN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NL0xGTEq5EfLpXSU1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NzzCyGRdCQKtsOo3ER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P5MIh4RnqQOR28._w5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JleiuQdGfmWMdnfo6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8cuFs9RRa51X09y3_9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omxLAQHiGELBNhiV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Oo5glSm2VNL_1ZaiN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kT278SZOk3LTxXGq2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A6tSER1G4Hl2O_rn6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P5CUh2SiSG82qUcN5V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TXrRuSTiOiW_5KaWmW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K.lA6QKG1Ko4fTfZK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uALU7vR5i4O1LGaMxi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m6C4kQ4SUVhrpXKEX_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qfk2MlSi.G6p7UyQO6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jNCbBSWaHBC_sLoHn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rtSj4ERkCymp9.gYSU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_pEJjT1qM1E_P4Bda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M33k_SN.bLfvE2uo9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xZ00NQ6q9TqujYUhU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RxDa.mQhi3ELXy2fz2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XHjzcjQLuVzOCX2i8F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IOI59TSSOKWUspcP6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fhkyDSZ2xn5seGt9H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0qyHzSGWSsk3mDzsJ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0OBhbxR8KvnrqKdm.R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QvGJxRS6.agJDRu2n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s.LvpRVOYnucs82bi6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4a5I8SFyB_MuUXFoZ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1cKBi3TS6BhMfQ9w_L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VyQ7QQ5.P36XlJ6rk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TH6VMQgmVpG5AY6ir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pbhyLQWGBWImV8uma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IWquIRyWGI0W4u9lq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orAuQNKHlbUpyveU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FY2KmSfeNvifxYGva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4QwScKlUtW0e8XC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KCiXPTsCZnFSii0G7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JZlVISUOkH8yR0ZsC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Ft0wRRvClwvE0vAg1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pue8UR1SG0dbldFB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g8tT1TdatWqWBGWSn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AMl5GRHOVU1DuLJ2P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7a3g2QRiKXqFnGkYf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FCElaTrebwDu3vvK5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_Ax4XTmKXDVAr3iIR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82751Sdu7tOXuxLHF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oKmMBSvK7w8qXIig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ihQX_SeWgcJ6yTEw5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v8804iT8ef1D__ikVh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t_ZD2TNKLswSxQ2uo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mkvYTTLmUZ8lXDKUt.w"/>
</p:tagLst>
</file>

<file path=ppt/theme/theme1.xml><?xml version="1.0" encoding="utf-8"?>
<a:theme xmlns:a="http://schemas.openxmlformats.org/drawingml/2006/main" name="PowerPoint_CS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chnika">
      <a:majorFont>
        <a:latin typeface="Technika-Bold"/>
        <a:ea typeface=""/>
        <a:cs typeface=""/>
      </a:majorFont>
      <a:minorFont>
        <a:latin typeface="Technika"/>
        <a:ea typeface=""/>
        <a:cs typeface="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CZ.potx" id="{1BD4F44E-F71F-4A14-9EF9-FF6613634235}" vid="{496B007D-76DB-4922-86C8-13F7F6C54E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CS</Template>
  <TotalTime>7222</TotalTime>
  <Words>373</Words>
  <Application>Microsoft Office PowerPoint</Application>
  <PresentationFormat>On-screen Show (4:3)</PresentationFormat>
  <Paragraphs>217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Technika</vt:lpstr>
      <vt:lpstr>Calibri</vt:lpstr>
      <vt:lpstr>Technika-Bold</vt:lpstr>
      <vt:lpstr>PowerPoint_CS</vt:lpstr>
      <vt:lpstr>think-cell Slide</vt:lpstr>
      <vt:lpstr>Project CASA: Status update – week 11</vt:lpstr>
      <vt:lpstr>Goals for this Meeting</vt:lpstr>
      <vt:lpstr>Project team assesment</vt:lpstr>
      <vt:lpstr>Project Team Update</vt:lpstr>
      <vt:lpstr>Project status overview</vt:lpstr>
      <vt:lpstr>Project is being steadily updated…</vt:lpstr>
      <vt:lpstr>…and we are still within planned schedule</vt:lpstr>
      <vt:lpstr>Today we need to:</vt:lpstr>
      <vt:lpstr>Development update</vt:lpstr>
      <vt:lpstr>Development progress</vt:lpstr>
      <vt:lpstr>Full Project View: Last meeting (20.4.2017)</vt:lpstr>
      <vt:lpstr>Full Project View: Current status (4.5.2017)</vt:lpstr>
      <vt:lpstr>Testing update</vt:lpstr>
      <vt:lpstr>High-level View</vt:lpstr>
      <vt:lpstr>Unit testing overview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ek</dc:creator>
  <cp:lastModifiedBy>Marek</cp:lastModifiedBy>
  <cp:revision>116</cp:revision>
  <cp:lastPrinted>2017-03-01T18:10:55Z</cp:lastPrinted>
  <dcterms:created xsi:type="dcterms:W3CDTF">2016-12-15T15:45:09Z</dcterms:created>
  <dcterms:modified xsi:type="dcterms:W3CDTF">2017-05-04T13:48:21Z</dcterms:modified>
</cp:coreProperties>
</file>